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7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9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2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3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6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7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5" r:id="rId5"/>
    <p:sldMasterId id="2147483706" r:id="rId6"/>
    <p:sldMasterId id="2147483822" r:id="rId7"/>
    <p:sldMasterId id="2147483841" r:id="rId8"/>
  </p:sldMasterIdLst>
  <p:notesMasterIdLst>
    <p:notesMasterId r:id="rId27"/>
  </p:notesMasterIdLst>
  <p:sldIdLst>
    <p:sldId id="4073" r:id="rId9"/>
    <p:sldId id="4043" r:id="rId10"/>
    <p:sldId id="4071" r:id="rId11"/>
    <p:sldId id="4074" r:id="rId12"/>
    <p:sldId id="4081" r:id="rId13"/>
    <p:sldId id="4082" r:id="rId14"/>
    <p:sldId id="4083" r:id="rId15"/>
    <p:sldId id="4084" r:id="rId16"/>
    <p:sldId id="4085" r:id="rId17"/>
    <p:sldId id="4088" r:id="rId18"/>
    <p:sldId id="4090" r:id="rId19"/>
    <p:sldId id="4091" r:id="rId20"/>
    <p:sldId id="4092" r:id="rId21"/>
    <p:sldId id="4093" r:id="rId22"/>
    <p:sldId id="4094" r:id="rId23"/>
    <p:sldId id="4086" r:id="rId24"/>
    <p:sldId id="4087" r:id="rId25"/>
    <p:sldId id="4089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" id="{F7266A2B-C7E7-4B61-8B14-2311C84F770E}">
          <p14:sldIdLst>
            <p14:sldId id="4073"/>
            <p14:sldId id="4043"/>
            <p14:sldId id="4071"/>
            <p14:sldId id="4074"/>
            <p14:sldId id="4081"/>
            <p14:sldId id="4082"/>
            <p14:sldId id="4083"/>
            <p14:sldId id="4084"/>
            <p14:sldId id="4085"/>
            <p14:sldId id="4088"/>
            <p14:sldId id="4090"/>
            <p14:sldId id="4091"/>
            <p14:sldId id="4092"/>
            <p14:sldId id="4093"/>
            <p14:sldId id="4094"/>
          </p14:sldIdLst>
        </p14:section>
        <p14:section name="Appendix" id="{DFF7B3FB-56E2-469D-A85B-971FCCBC66E2}">
          <p14:sldIdLst>
            <p14:sldId id="4086"/>
            <p14:sldId id="4087"/>
            <p14:sldId id="408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52E2"/>
    <a:srgbClr val="FFFF00"/>
    <a:srgbClr val="000000"/>
    <a:srgbClr val="D9D9D9"/>
    <a:srgbClr val="071F42"/>
    <a:srgbClr val="EEEEEE"/>
    <a:srgbClr val="061E3F"/>
    <a:srgbClr val="2552E3"/>
    <a:srgbClr val="112E85"/>
    <a:srgbClr val="051C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227" autoAdjust="0"/>
    <p:restoredTop sz="91381" autoAdjust="0"/>
  </p:normalViewPr>
  <p:slideViewPr>
    <p:cSldViewPr snapToGrid="0">
      <p:cViewPr>
        <p:scale>
          <a:sx n="75" d="100"/>
          <a:sy n="75" d="100"/>
        </p:scale>
        <p:origin x="1710" y="702"/>
      </p:cViewPr>
      <p:guideLst>
        <p:guide orient="horz" pos="2160"/>
        <p:guide pos="3840"/>
      </p:guideLst>
    </p:cSldViewPr>
  </p:slideViewPr>
  <p:notesTextViewPr>
    <p:cViewPr>
      <p:scale>
        <a:sx n="33" d="100"/>
        <a:sy n="33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izky Fajar" userId="490a5c0ae4650a6d" providerId="LiveId" clId="{5666174E-1FDC-4381-AE72-96AAAE51F635}"/>
    <pc:docChg chg="undo redo custSel addSld delSld modSld sldOrd addSection delSection modSection">
      <pc:chgData name="Rizky Fajar" userId="490a5c0ae4650a6d" providerId="LiveId" clId="{5666174E-1FDC-4381-AE72-96AAAE51F635}" dt="2025-02-19T13:39:10.272" v="32257" actId="478"/>
      <pc:docMkLst>
        <pc:docMk/>
      </pc:docMkLst>
      <pc:sldChg chg="addSp modSp del mod">
        <pc:chgData name="Rizky Fajar" userId="490a5c0ae4650a6d" providerId="LiveId" clId="{5666174E-1FDC-4381-AE72-96AAAE51F635}" dt="2025-02-19T13:20:34.990" v="31954" actId="47"/>
        <pc:sldMkLst>
          <pc:docMk/>
          <pc:sldMk cId="2158894548" sldId="3856"/>
        </pc:sldMkLst>
        <pc:spChg chg="add mod">
          <ac:chgData name="Rizky Fajar" userId="490a5c0ae4650a6d" providerId="LiveId" clId="{5666174E-1FDC-4381-AE72-96AAAE51F635}" dt="2025-02-19T13:18:12.416" v="31949"/>
          <ac:spMkLst>
            <pc:docMk/>
            <pc:sldMk cId="2158894548" sldId="3856"/>
            <ac:spMk id="3" creationId="{1FDE54B8-C879-34C0-7B91-F9F70B176EAB}"/>
          </ac:spMkLst>
        </pc:spChg>
        <pc:picChg chg="add mod">
          <ac:chgData name="Rizky Fajar" userId="490a5c0ae4650a6d" providerId="LiveId" clId="{5666174E-1FDC-4381-AE72-96AAAE51F635}" dt="2025-02-19T13:18:12.416" v="31949"/>
          <ac:picMkLst>
            <pc:docMk/>
            <pc:sldMk cId="2158894548" sldId="3856"/>
            <ac:picMk id="2" creationId="{CC9B35A1-A69E-7CE4-1BF7-D0667127B8EE}"/>
          </ac:picMkLst>
        </pc:picChg>
      </pc:sldChg>
      <pc:sldChg chg="del ord">
        <pc:chgData name="Rizky Fajar" userId="490a5c0ae4650a6d" providerId="LiveId" clId="{5666174E-1FDC-4381-AE72-96AAAE51F635}" dt="2025-02-19T13:20:34.990" v="31954" actId="47"/>
        <pc:sldMkLst>
          <pc:docMk/>
          <pc:sldMk cId="2661136957" sldId="4034"/>
        </pc:sldMkLst>
      </pc:sldChg>
      <pc:sldChg chg="addSp modSp add del mod ord">
        <pc:chgData name="Rizky Fajar" userId="490a5c0ae4650a6d" providerId="LiveId" clId="{5666174E-1FDC-4381-AE72-96AAAE51F635}" dt="2025-02-19T13:27:46.081" v="32235" actId="20577"/>
        <pc:sldMkLst>
          <pc:docMk/>
          <pc:sldMk cId="478176969" sldId="4043"/>
        </pc:sldMkLst>
        <pc:spChg chg="mod">
          <ac:chgData name="Rizky Fajar" userId="490a5c0ae4650a6d" providerId="LiveId" clId="{5666174E-1FDC-4381-AE72-96AAAE51F635}" dt="2025-02-19T13:27:46.081" v="32235" actId="20577"/>
          <ac:spMkLst>
            <pc:docMk/>
            <pc:sldMk cId="478176969" sldId="4043"/>
            <ac:spMk id="5" creationId="{9553D817-A4F9-D4EE-A83E-E9DDAFE7E434}"/>
          </ac:spMkLst>
        </pc:spChg>
        <pc:spChg chg="add mod">
          <ac:chgData name="Rizky Fajar" userId="490a5c0ae4650a6d" providerId="LiveId" clId="{5666174E-1FDC-4381-AE72-96AAAE51F635}" dt="2025-02-19T13:23:26.138" v="32198" actId="1076"/>
          <ac:spMkLst>
            <pc:docMk/>
            <pc:sldMk cId="478176969" sldId="4043"/>
            <ac:spMk id="7" creationId="{6610C69A-E6E7-E2EE-4C13-AAC8DF48413F}"/>
          </ac:spMkLst>
        </pc:spChg>
        <pc:spChg chg="mod">
          <ac:chgData name="Rizky Fajar" userId="490a5c0ae4650a6d" providerId="LiveId" clId="{5666174E-1FDC-4381-AE72-96AAAE51F635}" dt="2025-02-19T13:23:26.138" v="32198" actId="1076"/>
          <ac:spMkLst>
            <pc:docMk/>
            <pc:sldMk cId="478176969" sldId="4043"/>
            <ac:spMk id="9" creationId="{DA1F0FA7-59C7-FAF5-DAF8-85B441108C9C}"/>
          </ac:spMkLst>
        </pc:spChg>
        <pc:spChg chg="mod">
          <ac:chgData name="Rizky Fajar" userId="490a5c0ae4650a6d" providerId="LiveId" clId="{5666174E-1FDC-4381-AE72-96AAAE51F635}" dt="2025-02-19T13:24:35.107" v="32199"/>
          <ac:spMkLst>
            <pc:docMk/>
            <pc:sldMk cId="478176969" sldId="4043"/>
            <ac:spMk id="10" creationId="{DC38C997-9871-C4EA-E543-F0C355E9FE1B}"/>
          </ac:spMkLst>
        </pc:spChg>
        <pc:spChg chg="add mod">
          <ac:chgData name="Rizky Fajar" userId="490a5c0ae4650a6d" providerId="LiveId" clId="{5666174E-1FDC-4381-AE72-96AAAE51F635}" dt="2025-02-19T13:25:03.654" v="32202"/>
          <ac:spMkLst>
            <pc:docMk/>
            <pc:sldMk cId="478176969" sldId="4043"/>
            <ac:spMk id="13" creationId="{CEAB9ECF-E7D9-682B-CCD8-9E5745D0CE01}"/>
          </ac:spMkLst>
        </pc:spChg>
        <pc:spChg chg="mod">
          <ac:chgData name="Rizky Fajar" userId="490a5c0ae4650a6d" providerId="LiveId" clId="{5666174E-1FDC-4381-AE72-96AAAE51F635}" dt="2025-02-19T13:23:26.138" v="32198" actId="1076"/>
          <ac:spMkLst>
            <pc:docMk/>
            <pc:sldMk cId="478176969" sldId="4043"/>
            <ac:spMk id="14" creationId="{A2DA0E0A-9C06-96D1-6BD3-FF5697999CCD}"/>
          </ac:spMkLst>
        </pc:spChg>
        <pc:spChg chg="mod">
          <ac:chgData name="Rizky Fajar" userId="490a5c0ae4650a6d" providerId="LiveId" clId="{5666174E-1FDC-4381-AE72-96AAAE51F635}" dt="2025-02-19T13:24:43.672" v="32200"/>
          <ac:spMkLst>
            <pc:docMk/>
            <pc:sldMk cId="478176969" sldId="4043"/>
            <ac:spMk id="17" creationId="{54ACE69C-B8F1-453C-63F1-D7ED8056383C}"/>
          </ac:spMkLst>
        </pc:spChg>
        <pc:spChg chg="mod">
          <ac:chgData name="Rizky Fajar" userId="490a5c0ae4650a6d" providerId="LiveId" clId="{5666174E-1FDC-4381-AE72-96AAAE51F635}" dt="2025-02-19T13:23:26.138" v="32198" actId="1076"/>
          <ac:spMkLst>
            <pc:docMk/>
            <pc:sldMk cId="478176969" sldId="4043"/>
            <ac:spMk id="18" creationId="{DDD3C425-AF4C-CA7F-112C-47CB2FD330C1}"/>
          </ac:spMkLst>
        </pc:spChg>
        <pc:spChg chg="mod">
          <ac:chgData name="Rizky Fajar" userId="490a5c0ae4650a6d" providerId="LiveId" clId="{5666174E-1FDC-4381-AE72-96AAAE51F635}" dt="2025-02-19T13:24:55.247" v="32201"/>
          <ac:spMkLst>
            <pc:docMk/>
            <pc:sldMk cId="478176969" sldId="4043"/>
            <ac:spMk id="19" creationId="{558A4831-9A21-5A61-7F55-0F7CDDA6B87A}"/>
          </ac:spMkLst>
        </pc:spChg>
      </pc:sldChg>
      <pc:sldChg chg="del ord">
        <pc:chgData name="Rizky Fajar" userId="490a5c0ae4650a6d" providerId="LiveId" clId="{5666174E-1FDC-4381-AE72-96AAAE51F635}" dt="2025-02-12T17:31:04.654" v="14147" actId="47"/>
        <pc:sldMkLst>
          <pc:docMk/>
          <pc:sldMk cId="2137040807" sldId="4044"/>
        </pc:sldMkLst>
      </pc:sldChg>
      <pc:sldChg chg="addSp delSp modSp del mod ord">
        <pc:chgData name="Rizky Fajar" userId="490a5c0ae4650a6d" providerId="LiveId" clId="{5666174E-1FDC-4381-AE72-96AAAE51F635}" dt="2025-02-19T13:20:34.990" v="31954" actId="47"/>
        <pc:sldMkLst>
          <pc:docMk/>
          <pc:sldMk cId="2731431347" sldId="4045"/>
        </pc:sldMkLst>
      </pc:sldChg>
      <pc:sldChg chg="del ord">
        <pc:chgData name="Rizky Fajar" userId="490a5c0ae4650a6d" providerId="LiveId" clId="{5666174E-1FDC-4381-AE72-96AAAE51F635}" dt="2025-02-12T17:31:04.654" v="14147" actId="47"/>
        <pc:sldMkLst>
          <pc:docMk/>
          <pc:sldMk cId="1379156853" sldId="4046"/>
        </pc:sldMkLst>
      </pc:sldChg>
      <pc:sldChg chg="del ord">
        <pc:chgData name="Rizky Fajar" userId="490a5c0ae4650a6d" providerId="LiveId" clId="{5666174E-1FDC-4381-AE72-96AAAE51F635}" dt="2025-02-12T17:31:04.654" v="14147" actId="47"/>
        <pc:sldMkLst>
          <pc:docMk/>
          <pc:sldMk cId="2197136769" sldId="4048"/>
        </pc:sldMkLst>
      </pc:sldChg>
      <pc:sldChg chg="del ord">
        <pc:chgData name="Rizky Fajar" userId="490a5c0ae4650a6d" providerId="LiveId" clId="{5666174E-1FDC-4381-AE72-96AAAE51F635}" dt="2025-02-12T17:31:04.654" v="14147" actId="47"/>
        <pc:sldMkLst>
          <pc:docMk/>
          <pc:sldMk cId="1701110668" sldId="4049"/>
        </pc:sldMkLst>
      </pc:sldChg>
      <pc:sldChg chg="del ord">
        <pc:chgData name="Rizky Fajar" userId="490a5c0ae4650a6d" providerId="LiveId" clId="{5666174E-1FDC-4381-AE72-96AAAE51F635}" dt="2025-02-12T17:31:04.654" v="14147" actId="47"/>
        <pc:sldMkLst>
          <pc:docMk/>
          <pc:sldMk cId="1086085138" sldId="4050"/>
        </pc:sldMkLst>
      </pc:sldChg>
      <pc:sldChg chg="del ord">
        <pc:chgData name="Rizky Fajar" userId="490a5c0ae4650a6d" providerId="LiveId" clId="{5666174E-1FDC-4381-AE72-96AAAE51F635}" dt="2025-02-12T17:31:04.654" v="14147" actId="47"/>
        <pc:sldMkLst>
          <pc:docMk/>
          <pc:sldMk cId="693959529" sldId="4051"/>
        </pc:sldMkLst>
      </pc:sldChg>
      <pc:sldChg chg="del ord">
        <pc:chgData name="Rizky Fajar" userId="490a5c0ae4650a6d" providerId="LiveId" clId="{5666174E-1FDC-4381-AE72-96AAAE51F635}" dt="2025-02-12T17:31:04.654" v="14147" actId="47"/>
        <pc:sldMkLst>
          <pc:docMk/>
          <pc:sldMk cId="1072103729" sldId="4052"/>
        </pc:sldMkLst>
      </pc:sldChg>
      <pc:sldChg chg="del ord">
        <pc:chgData name="Rizky Fajar" userId="490a5c0ae4650a6d" providerId="LiveId" clId="{5666174E-1FDC-4381-AE72-96AAAE51F635}" dt="2025-02-12T17:31:04.654" v="14147" actId="47"/>
        <pc:sldMkLst>
          <pc:docMk/>
          <pc:sldMk cId="4285811609" sldId="4053"/>
        </pc:sldMkLst>
      </pc:sldChg>
      <pc:sldChg chg="addSp delSp modSp add del mod">
        <pc:chgData name="Rizky Fajar" userId="490a5c0ae4650a6d" providerId="LiveId" clId="{5666174E-1FDC-4381-AE72-96AAAE51F635}" dt="2025-02-12T17:31:04.654" v="14147" actId="47"/>
        <pc:sldMkLst>
          <pc:docMk/>
          <pc:sldMk cId="2910103047" sldId="4054"/>
        </pc:sldMkLst>
      </pc:sldChg>
      <pc:sldChg chg="addSp delSp modSp add del mod">
        <pc:chgData name="Rizky Fajar" userId="490a5c0ae4650a6d" providerId="LiveId" clId="{5666174E-1FDC-4381-AE72-96AAAE51F635}" dt="2025-02-12T17:31:04.654" v="14147" actId="47"/>
        <pc:sldMkLst>
          <pc:docMk/>
          <pc:sldMk cId="4078716642" sldId="4055"/>
        </pc:sldMkLst>
      </pc:sldChg>
      <pc:sldChg chg="delSp modSp add del mod">
        <pc:chgData name="Rizky Fajar" userId="490a5c0ae4650a6d" providerId="LiveId" clId="{5666174E-1FDC-4381-AE72-96AAAE51F635}" dt="2025-02-05T11:46:03.634" v="3299" actId="47"/>
        <pc:sldMkLst>
          <pc:docMk/>
          <pc:sldMk cId="1110314776" sldId="4056"/>
        </pc:sldMkLst>
      </pc:sldChg>
      <pc:sldChg chg="addSp delSp modSp add del mod">
        <pc:chgData name="Rizky Fajar" userId="490a5c0ae4650a6d" providerId="LiveId" clId="{5666174E-1FDC-4381-AE72-96AAAE51F635}" dt="2025-02-04T14:43:43.052" v="1744" actId="47"/>
        <pc:sldMkLst>
          <pc:docMk/>
          <pc:sldMk cId="2387310276" sldId="4056"/>
        </pc:sldMkLst>
      </pc:sldChg>
      <pc:sldChg chg="new del">
        <pc:chgData name="Rizky Fajar" userId="490a5c0ae4650a6d" providerId="LiveId" clId="{5666174E-1FDC-4381-AE72-96AAAE51F635}" dt="2025-02-05T10:54:27.164" v="1897" actId="680"/>
        <pc:sldMkLst>
          <pc:docMk/>
          <pc:sldMk cId="3272216733" sldId="4057"/>
        </pc:sldMkLst>
      </pc:sldChg>
      <pc:sldChg chg="addSp delSp modSp add del mod ord">
        <pc:chgData name="Rizky Fajar" userId="490a5c0ae4650a6d" providerId="LiveId" clId="{5666174E-1FDC-4381-AE72-96AAAE51F635}" dt="2025-02-12T17:31:04.654" v="14147" actId="47"/>
        <pc:sldMkLst>
          <pc:docMk/>
          <pc:sldMk cId="3582678259" sldId="4057"/>
        </pc:sldMkLst>
      </pc:sldChg>
      <pc:sldChg chg="addSp delSp modSp add del mod">
        <pc:chgData name="Rizky Fajar" userId="490a5c0ae4650a6d" providerId="LiveId" clId="{5666174E-1FDC-4381-AE72-96AAAE51F635}" dt="2025-02-12T17:31:04.654" v="14147" actId="47"/>
        <pc:sldMkLst>
          <pc:docMk/>
          <pc:sldMk cId="2943694238" sldId="4058"/>
        </pc:sldMkLst>
      </pc:sldChg>
      <pc:sldChg chg="addSp delSp modSp add del mod">
        <pc:chgData name="Rizky Fajar" userId="490a5c0ae4650a6d" providerId="LiveId" clId="{5666174E-1FDC-4381-AE72-96AAAE51F635}" dt="2025-02-12T17:31:04.654" v="14147" actId="47"/>
        <pc:sldMkLst>
          <pc:docMk/>
          <pc:sldMk cId="92306399" sldId="4059"/>
        </pc:sldMkLst>
      </pc:sldChg>
      <pc:sldChg chg="add del">
        <pc:chgData name="Rizky Fajar" userId="490a5c0ae4650a6d" providerId="LiveId" clId="{5666174E-1FDC-4381-AE72-96AAAE51F635}" dt="2025-02-06T13:16:13.239" v="3771"/>
        <pc:sldMkLst>
          <pc:docMk/>
          <pc:sldMk cId="1322601421" sldId="4059"/>
        </pc:sldMkLst>
      </pc:sldChg>
      <pc:sldChg chg="addSp delSp modSp add del mod">
        <pc:chgData name="Rizky Fajar" userId="490a5c0ae4650a6d" providerId="LiveId" clId="{5666174E-1FDC-4381-AE72-96AAAE51F635}" dt="2025-02-12T17:31:04.654" v="14147" actId="47"/>
        <pc:sldMkLst>
          <pc:docMk/>
          <pc:sldMk cId="469182241" sldId="4060"/>
        </pc:sldMkLst>
      </pc:sldChg>
      <pc:sldChg chg="modSp add del mod">
        <pc:chgData name="Rizky Fajar" userId="490a5c0ae4650a6d" providerId="LiveId" clId="{5666174E-1FDC-4381-AE72-96AAAE51F635}" dt="2025-02-12T17:31:04.654" v="14147" actId="47"/>
        <pc:sldMkLst>
          <pc:docMk/>
          <pc:sldMk cId="4028201297" sldId="4061"/>
        </pc:sldMkLst>
      </pc:sldChg>
      <pc:sldChg chg="addSp delSp modSp add del mod">
        <pc:chgData name="Rizky Fajar" userId="490a5c0ae4650a6d" providerId="LiveId" clId="{5666174E-1FDC-4381-AE72-96AAAE51F635}" dt="2025-02-19T13:20:34.990" v="31954" actId="47"/>
        <pc:sldMkLst>
          <pc:docMk/>
          <pc:sldMk cId="4262426532" sldId="4062"/>
        </pc:sldMkLst>
      </pc:sldChg>
      <pc:sldChg chg="modSp add del mod">
        <pc:chgData name="Rizky Fajar" userId="490a5c0ae4650a6d" providerId="LiveId" clId="{5666174E-1FDC-4381-AE72-96AAAE51F635}" dt="2025-02-12T17:31:04.654" v="14147" actId="47"/>
        <pc:sldMkLst>
          <pc:docMk/>
          <pc:sldMk cId="2862643936" sldId="4063"/>
        </pc:sldMkLst>
      </pc:sldChg>
      <pc:sldChg chg="addSp delSp modSp add del mod">
        <pc:chgData name="Rizky Fajar" userId="490a5c0ae4650a6d" providerId="LiveId" clId="{5666174E-1FDC-4381-AE72-96AAAE51F635}" dt="2025-02-12T17:31:04.654" v="14147" actId="47"/>
        <pc:sldMkLst>
          <pc:docMk/>
          <pc:sldMk cId="586656888" sldId="4064"/>
        </pc:sldMkLst>
      </pc:sldChg>
      <pc:sldChg chg="addSp delSp modSp add del mod">
        <pc:chgData name="Rizky Fajar" userId="490a5c0ae4650a6d" providerId="LiveId" clId="{5666174E-1FDC-4381-AE72-96AAAE51F635}" dt="2025-02-19T13:20:34.990" v="31954" actId="47"/>
        <pc:sldMkLst>
          <pc:docMk/>
          <pc:sldMk cId="722478252" sldId="4065"/>
        </pc:sldMkLst>
      </pc:sldChg>
      <pc:sldChg chg="addSp delSp modSp add del mod">
        <pc:chgData name="Rizky Fajar" userId="490a5c0ae4650a6d" providerId="LiveId" clId="{5666174E-1FDC-4381-AE72-96AAAE51F635}" dt="2025-02-19T13:20:34.990" v="31954" actId="47"/>
        <pc:sldMkLst>
          <pc:docMk/>
          <pc:sldMk cId="1742072149" sldId="4066"/>
        </pc:sldMkLst>
      </pc:sldChg>
      <pc:sldChg chg="addSp delSp modSp add del mod ord">
        <pc:chgData name="Rizky Fajar" userId="490a5c0ae4650a6d" providerId="LiveId" clId="{5666174E-1FDC-4381-AE72-96AAAE51F635}" dt="2025-02-19T13:20:34.990" v="31954" actId="47"/>
        <pc:sldMkLst>
          <pc:docMk/>
          <pc:sldMk cId="3422698670" sldId="4067"/>
        </pc:sldMkLst>
      </pc:sldChg>
      <pc:sldChg chg="modSp add del mod ord">
        <pc:chgData name="Rizky Fajar" userId="490a5c0ae4650a6d" providerId="LiveId" clId="{5666174E-1FDC-4381-AE72-96AAAE51F635}" dt="2025-02-19T13:20:34.990" v="31954" actId="47"/>
        <pc:sldMkLst>
          <pc:docMk/>
          <pc:sldMk cId="1127711032" sldId="4068"/>
        </pc:sldMkLst>
      </pc:sldChg>
      <pc:sldChg chg="addSp delSp modSp add del mod">
        <pc:chgData name="Rizky Fajar" userId="490a5c0ae4650a6d" providerId="LiveId" clId="{5666174E-1FDC-4381-AE72-96AAAE51F635}" dt="2025-02-19T13:20:34.990" v="31954" actId="47"/>
        <pc:sldMkLst>
          <pc:docMk/>
          <pc:sldMk cId="3935118954" sldId="4069"/>
        </pc:sldMkLst>
      </pc:sldChg>
      <pc:sldChg chg="addSp delSp modSp add del mod">
        <pc:chgData name="Rizky Fajar" userId="490a5c0ae4650a6d" providerId="LiveId" clId="{5666174E-1FDC-4381-AE72-96AAAE51F635}" dt="2025-02-19T13:20:34.990" v="31954" actId="47"/>
        <pc:sldMkLst>
          <pc:docMk/>
          <pc:sldMk cId="3591165028" sldId="4070"/>
        </pc:sldMkLst>
      </pc:sldChg>
      <pc:sldChg chg="addSp delSp modSp add mod">
        <pc:chgData name="Rizky Fajar" userId="490a5c0ae4650a6d" providerId="LiveId" clId="{5666174E-1FDC-4381-AE72-96AAAE51F635}" dt="2025-02-19T13:38:55.242" v="32256" actId="478"/>
        <pc:sldMkLst>
          <pc:docMk/>
          <pc:sldMk cId="355681110" sldId="4071"/>
        </pc:sldMkLst>
        <pc:spChg chg="mod">
          <ac:chgData name="Rizky Fajar" userId="490a5c0ae4650a6d" providerId="LiveId" clId="{5666174E-1FDC-4381-AE72-96AAAE51F635}" dt="2025-02-17T07:15:22.772" v="17825" actId="20577"/>
          <ac:spMkLst>
            <pc:docMk/>
            <pc:sldMk cId="355681110" sldId="4071"/>
            <ac:spMk id="5" creationId="{9B6D7EDC-AA5C-E46F-E093-97DDD7AE4E12}"/>
          </ac:spMkLst>
        </pc:spChg>
        <pc:spChg chg="add del mod ord topLvl">
          <ac:chgData name="Rizky Fajar" userId="490a5c0ae4650a6d" providerId="LiveId" clId="{5666174E-1FDC-4381-AE72-96AAAE51F635}" dt="2025-02-17T08:31:44.813" v="18227" actId="20577"/>
          <ac:spMkLst>
            <pc:docMk/>
            <pc:sldMk cId="355681110" sldId="4071"/>
            <ac:spMk id="7" creationId="{54EFF187-AD36-7C22-862A-B42547222549}"/>
          </ac:spMkLst>
        </pc:spChg>
        <pc:spChg chg="add del mod">
          <ac:chgData name="Rizky Fajar" userId="490a5c0ae4650a6d" providerId="LiveId" clId="{5666174E-1FDC-4381-AE72-96AAAE51F635}" dt="2025-02-18T03:57:55.808" v="21353" actId="20577"/>
          <ac:spMkLst>
            <pc:docMk/>
            <pc:sldMk cId="355681110" sldId="4071"/>
            <ac:spMk id="13" creationId="{DE8EBC0B-0EB1-7F72-D08C-89F4F614C182}"/>
          </ac:spMkLst>
        </pc:spChg>
        <pc:spChg chg="mod">
          <ac:chgData name="Rizky Fajar" userId="490a5c0ae4650a6d" providerId="LiveId" clId="{5666174E-1FDC-4381-AE72-96AAAE51F635}" dt="2025-02-17T06:58:10.822" v="17041" actId="20577"/>
          <ac:spMkLst>
            <pc:docMk/>
            <pc:sldMk cId="355681110" sldId="4071"/>
            <ac:spMk id="24" creationId="{C8584CAD-EE1A-36DD-95D3-1570233C0ACC}"/>
          </ac:spMkLst>
        </pc:spChg>
        <pc:spChg chg="add mod ord topLvl">
          <ac:chgData name="Rizky Fajar" userId="490a5c0ae4650a6d" providerId="LiveId" clId="{5666174E-1FDC-4381-AE72-96AAAE51F635}" dt="2025-02-17T08:31:42.293" v="18220" actId="20577"/>
          <ac:spMkLst>
            <pc:docMk/>
            <pc:sldMk cId="355681110" sldId="4071"/>
            <ac:spMk id="30" creationId="{89DDECC7-6B9C-1FF8-C0B0-5B6BCE4D6354}"/>
          </ac:spMkLst>
        </pc:spChg>
        <pc:spChg chg="add mod ord topLvl">
          <ac:chgData name="Rizky Fajar" userId="490a5c0ae4650a6d" providerId="LiveId" clId="{5666174E-1FDC-4381-AE72-96AAAE51F635}" dt="2025-02-17T08:31:41.998" v="18219" actId="20577"/>
          <ac:spMkLst>
            <pc:docMk/>
            <pc:sldMk cId="355681110" sldId="4071"/>
            <ac:spMk id="33" creationId="{BB486790-03E7-B8B8-3A9F-CECFB7C725D8}"/>
          </ac:spMkLst>
        </pc:spChg>
        <pc:spChg chg="add mod">
          <ac:chgData name="Rizky Fajar" userId="490a5c0ae4650a6d" providerId="LiveId" clId="{5666174E-1FDC-4381-AE72-96AAAE51F635}" dt="2025-02-17T07:06:36.841" v="17468" actId="14100"/>
          <ac:spMkLst>
            <pc:docMk/>
            <pc:sldMk cId="355681110" sldId="4071"/>
            <ac:spMk id="48" creationId="{CB1F033A-3A8E-E0FD-7B2E-C189C97EA4B1}"/>
          </ac:spMkLst>
        </pc:spChg>
        <pc:spChg chg="add mod">
          <ac:chgData name="Rizky Fajar" userId="490a5c0ae4650a6d" providerId="LiveId" clId="{5666174E-1FDC-4381-AE72-96AAAE51F635}" dt="2025-02-17T07:15:53.773" v="17837" actId="20577"/>
          <ac:spMkLst>
            <pc:docMk/>
            <pc:sldMk cId="355681110" sldId="4071"/>
            <ac:spMk id="49" creationId="{3CEEBB9D-F9DA-76E0-B607-B90F3A0017CE}"/>
          </ac:spMkLst>
        </pc:spChg>
        <pc:spChg chg="mod">
          <ac:chgData name="Rizky Fajar" userId="490a5c0ae4650a6d" providerId="LiveId" clId="{5666174E-1FDC-4381-AE72-96AAAE51F635}" dt="2025-02-17T06:25:52.781" v="16451" actId="1076"/>
          <ac:spMkLst>
            <pc:docMk/>
            <pc:sldMk cId="355681110" sldId="4071"/>
            <ac:spMk id="55" creationId="{1F7DF25A-FFBE-70DD-FF05-E9B13B6A4C0D}"/>
          </ac:spMkLst>
        </pc:spChg>
        <pc:spChg chg="add mod">
          <ac:chgData name="Rizky Fajar" userId="490a5c0ae4650a6d" providerId="LiveId" clId="{5666174E-1FDC-4381-AE72-96AAAE51F635}" dt="2025-02-17T07:08:46.193" v="17685" actId="1076"/>
          <ac:spMkLst>
            <pc:docMk/>
            <pc:sldMk cId="355681110" sldId="4071"/>
            <ac:spMk id="82" creationId="{BE8CCF1C-2898-F8B9-5C1D-D4FFB40ECAD5}"/>
          </ac:spMkLst>
        </pc:spChg>
        <pc:spChg chg="add mod">
          <ac:chgData name="Rizky Fajar" userId="490a5c0ae4650a6d" providerId="LiveId" clId="{5666174E-1FDC-4381-AE72-96AAAE51F635}" dt="2025-02-17T07:09:06.907" v="17688" actId="404"/>
          <ac:spMkLst>
            <pc:docMk/>
            <pc:sldMk cId="355681110" sldId="4071"/>
            <ac:spMk id="108" creationId="{5233948A-9214-A255-618C-7D3E7A76943B}"/>
          </ac:spMkLst>
        </pc:spChg>
        <pc:spChg chg="add mod">
          <ac:chgData name="Rizky Fajar" userId="490a5c0ae4650a6d" providerId="LiveId" clId="{5666174E-1FDC-4381-AE72-96AAAE51F635}" dt="2025-02-17T07:09:08.867" v="17689" actId="404"/>
          <ac:spMkLst>
            <pc:docMk/>
            <pc:sldMk cId="355681110" sldId="4071"/>
            <ac:spMk id="109" creationId="{137AA461-F2F2-2430-E579-7856D67A36EE}"/>
          </ac:spMkLst>
        </pc:spChg>
        <pc:spChg chg="add mod ord">
          <ac:chgData name="Rizky Fajar" userId="490a5c0ae4650a6d" providerId="LiveId" clId="{5666174E-1FDC-4381-AE72-96AAAE51F635}" dt="2025-02-17T07:08:59.884" v="17687" actId="14100"/>
          <ac:spMkLst>
            <pc:docMk/>
            <pc:sldMk cId="355681110" sldId="4071"/>
            <ac:spMk id="110" creationId="{233CE5FD-CFE8-91E0-FB49-B5E2B8C14534}"/>
          </ac:spMkLst>
        </pc:spChg>
        <pc:spChg chg="add mod">
          <ac:chgData name="Rizky Fajar" userId="490a5c0ae4650a6d" providerId="LiveId" clId="{5666174E-1FDC-4381-AE72-96AAAE51F635}" dt="2025-02-17T07:10:31.861" v="17709" actId="1076"/>
          <ac:spMkLst>
            <pc:docMk/>
            <pc:sldMk cId="355681110" sldId="4071"/>
            <ac:spMk id="113" creationId="{229CDFD3-6F35-6919-7A1D-F5006E09EC69}"/>
          </ac:spMkLst>
        </pc:spChg>
        <pc:spChg chg="add mod ord">
          <ac:chgData name="Rizky Fajar" userId="490a5c0ae4650a6d" providerId="LiveId" clId="{5666174E-1FDC-4381-AE72-96AAAE51F635}" dt="2025-02-17T07:20:19.522" v="17848" actId="166"/>
          <ac:spMkLst>
            <pc:docMk/>
            <pc:sldMk cId="355681110" sldId="4071"/>
            <ac:spMk id="125" creationId="{7A7EE6DB-48AD-63E6-86BF-C5B7FF414755}"/>
          </ac:spMkLst>
        </pc:spChg>
        <pc:spChg chg="add mod">
          <ac:chgData name="Rizky Fajar" userId="490a5c0ae4650a6d" providerId="LiveId" clId="{5666174E-1FDC-4381-AE72-96AAAE51F635}" dt="2025-02-17T07:14:52.765" v="17801" actId="1076"/>
          <ac:spMkLst>
            <pc:docMk/>
            <pc:sldMk cId="355681110" sldId="4071"/>
            <ac:spMk id="126" creationId="{3C5CEE49-E606-EF4A-5DD4-C9BA0D791E5D}"/>
          </ac:spMkLst>
        </pc:spChg>
        <pc:spChg chg="add mod">
          <ac:chgData name="Rizky Fajar" userId="490a5c0ae4650a6d" providerId="LiveId" clId="{5666174E-1FDC-4381-AE72-96AAAE51F635}" dt="2025-02-17T08:18:12.843" v="17883" actId="113"/>
          <ac:spMkLst>
            <pc:docMk/>
            <pc:sldMk cId="355681110" sldId="4071"/>
            <ac:spMk id="128" creationId="{AB39570E-E1FF-24FE-8B38-20945E037BB5}"/>
          </ac:spMkLst>
        </pc:spChg>
        <pc:grpChg chg="add mod">
          <ac:chgData name="Rizky Fajar" userId="490a5c0ae4650a6d" providerId="LiveId" clId="{5666174E-1FDC-4381-AE72-96AAAE51F635}" dt="2025-02-17T06:55:41.682" v="16984" actId="1076"/>
          <ac:grpSpMkLst>
            <pc:docMk/>
            <pc:sldMk cId="355681110" sldId="4071"/>
            <ac:grpSpMk id="99" creationId="{D8008FF8-A2E6-712A-3B9A-D87D01284CD0}"/>
          </ac:grpSpMkLst>
        </pc:grpChg>
        <pc:graphicFrameChg chg="add del mod">
          <ac:chgData name="Rizky Fajar" userId="490a5c0ae4650a6d" providerId="LiveId" clId="{5666174E-1FDC-4381-AE72-96AAAE51F635}" dt="2025-02-17T07:26:21.063" v="17851" actId="404"/>
          <ac:graphicFrameMkLst>
            <pc:docMk/>
            <pc:sldMk cId="355681110" sldId="4071"/>
            <ac:graphicFrameMk id="56" creationId="{59453198-3013-50A0-FD99-2F3C747D4431}"/>
          </ac:graphicFrameMkLst>
        </pc:graphicFrameChg>
        <pc:graphicFrameChg chg="add mod">
          <ac:chgData name="Rizky Fajar" userId="490a5c0ae4650a6d" providerId="LiveId" clId="{5666174E-1FDC-4381-AE72-96AAAE51F635}" dt="2025-02-17T07:20:25.082" v="17849" actId="166"/>
          <ac:graphicFrameMkLst>
            <pc:docMk/>
            <pc:sldMk cId="355681110" sldId="4071"/>
            <ac:graphicFrameMk id="97" creationId="{5BBF045A-9777-A7AE-0D9D-5C33EDCDC7E6}"/>
          </ac:graphicFrameMkLst>
        </pc:graphicFrameChg>
        <pc:picChg chg="add del mod">
          <ac:chgData name="Rizky Fajar" userId="490a5c0ae4650a6d" providerId="LiveId" clId="{5666174E-1FDC-4381-AE72-96AAAE51F635}" dt="2025-02-19T13:38:53.585" v="32254" actId="478"/>
          <ac:picMkLst>
            <pc:docMk/>
            <pc:sldMk cId="355681110" sldId="4071"/>
            <ac:picMk id="14" creationId="{0DC47B2C-AFDA-E0F9-B322-27C6BCCE1D95}"/>
          </ac:picMkLst>
        </pc:picChg>
        <pc:picChg chg="del mod">
          <ac:chgData name="Rizky Fajar" userId="490a5c0ae4650a6d" providerId="LiveId" clId="{5666174E-1FDC-4381-AE72-96AAAE51F635}" dt="2025-02-19T13:38:55.242" v="32256" actId="478"/>
          <ac:picMkLst>
            <pc:docMk/>
            <pc:sldMk cId="355681110" sldId="4071"/>
            <ac:picMk id="36" creationId="{4991E1A4-8558-2A55-8837-B8E6E8BF3CA7}"/>
          </ac:picMkLst>
        </pc:picChg>
        <pc:picChg chg="add mod">
          <ac:chgData name="Rizky Fajar" userId="490a5c0ae4650a6d" providerId="LiveId" clId="{5666174E-1FDC-4381-AE72-96AAAE51F635}" dt="2025-02-17T08:18:01.458" v="17878" actId="1076"/>
          <ac:picMkLst>
            <pc:docMk/>
            <pc:sldMk cId="355681110" sldId="4071"/>
            <ac:picMk id="84" creationId="{039E66D5-7771-0F95-F605-ECCA1CB657BA}"/>
          </ac:picMkLst>
        </pc:picChg>
        <pc:picChg chg="add mod">
          <ac:chgData name="Rizky Fajar" userId="490a5c0ae4650a6d" providerId="LiveId" clId="{5666174E-1FDC-4381-AE72-96AAAE51F635}" dt="2025-02-17T08:18:02.353" v="17879" actId="1076"/>
          <ac:picMkLst>
            <pc:docMk/>
            <pc:sldMk cId="355681110" sldId="4071"/>
            <ac:picMk id="90" creationId="{3A0B7EEA-C04C-6C61-ECAA-1BC67A79F948}"/>
          </ac:picMkLst>
        </pc:picChg>
        <pc:picChg chg="add mod">
          <ac:chgData name="Rizky Fajar" userId="490a5c0ae4650a6d" providerId="LiveId" clId="{5666174E-1FDC-4381-AE72-96AAAE51F635}" dt="2025-02-17T08:18:00.078" v="17877" actId="1076"/>
          <ac:picMkLst>
            <pc:docMk/>
            <pc:sldMk cId="355681110" sldId="4071"/>
            <ac:picMk id="92" creationId="{397E3384-F2EE-6C68-8869-115AEE9F212F}"/>
          </ac:picMkLst>
        </pc:picChg>
        <pc:picChg chg="add mod">
          <ac:chgData name="Rizky Fajar" userId="490a5c0ae4650a6d" providerId="LiveId" clId="{5666174E-1FDC-4381-AE72-96AAAE51F635}" dt="2025-02-17T08:18:04.073" v="17881" actId="1076"/>
          <ac:picMkLst>
            <pc:docMk/>
            <pc:sldMk cId="355681110" sldId="4071"/>
            <ac:picMk id="94" creationId="{F879EBFB-9B9C-6EB3-0645-50F506E60BB9}"/>
          </ac:picMkLst>
        </pc:picChg>
        <pc:picChg chg="add mod">
          <ac:chgData name="Rizky Fajar" userId="490a5c0ae4650a6d" providerId="LiveId" clId="{5666174E-1FDC-4381-AE72-96AAAE51F635}" dt="2025-02-17T08:18:03.256" v="17880" actId="1076"/>
          <ac:picMkLst>
            <pc:docMk/>
            <pc:sldMk cId="355681110" sldId="4071"/>
            <ac:picMk id="96" creationId="{1A211020-E6CE-B4CC-6190-AB2EB35BC7D3}"/>
          </ac:picMkLst>
        </pc:picChg>
        <pc:picChg chg="add mod">
          <ac:chgData name="Rizky Fajar" userId="490a5c0ae4650a6d" providerId="LiveId" clId="{5666174E-1FDC-4381-AE72-96AAAE51F635}" dt="2025-02-17T07:10:31.861" v="17709" actId="1076"/>
          <ac:picMkLst>
            <pc:docMk/>
            <pc:sldMk cId="355681110" sldId="4071"/>
            <ac:picMk id="122" creationId="{68E0A094-462F-0B1C-1C8B-92E67EA541EE}"/>
          </ac:picMkLst>
        </pc:picChg>
        <pc:picChg chg="add del mod">
          <ac:chgData name="Rizky Fajar" userId="490a5c0ae4650a6d" providerId="LiveId" clId="{5666174E-1FDC-4381-AE72-96AAAE51F635}" dt="2025-02-19T13:38:54.726" v="32255" actId="478"/>
          <ac:picMkLst>
            <pc:docMk/>
            <pc:sldMk cId="355681110" sldId="4071"/>
            <ac:picMk id="124" creationId="{6DC87F04-1937-F298-9F96-CEEFAAECBDC3}"/>
          </ac:picMkLst>
        </pc:picChg>
        <pc:cxnChg chg="add mod">
          <ac:chgData name="Rizky Fajar" userId="490a5c0ae4650a6d" providerId="LiveId" clId="{5666174E-1FDC-4381-AE72-96AAAE51F635}" dt="2025-02-17T06:08:56.842" v="15160" actId="14100"/>
          <ac:cxnSpMkLst>
            <pc:docMk/>
            <pc:sldMk cId="355681110" sldId="4071"/>
            <ac:cxnSpMk id="16" creationId="{F1EAE090-1E5C-B2CB-380E-7DE84253CADF}"/>
          </ac:cxnSpMkLst>
        </pc:cxnChg>
        <pc:cxnChg chg="add mod topLvl">
          <ac:chgData name="Rizky Fajar" userId="490a5c0ae4650a6d" providerId="LiveId" clId="{5666174E-1FDC-4381-AE72-96AAAE51F635}" dt="2025-02-17T06:55:35.312" v="16983" actId="1076"/>
          <ac:cxnSpMkLst>
            <pc:docMk/>
            <pc:sldMk cId="355681110" sldId="4071"/>
            <ac:cxnSpMk id="25" creationId="{D37E9459-5F09-EB92-3172-BD9BB3272F15}"/>
          </ac:cxnSpMkLst>
        </pc:cxnChg>
        <pc:cxnChg chg="add mod topLvl">
          <ac:chgData name="Rizky Fajar" userId="490a5c0ae4650a6d" providerId="LiveId" clId="{5666174E-1FDC-4381-AE72-96AAAE51F635}" dt="2025-02-17T06:52:01.272" v="16786" actId="164"/>
          <ac:cxnSpMkLst>
            <pc:docMk/>
            <pc:sldMk cId="355681110" sldId="4071"/>
            <ac:cxnSpMk id="31" creationId="{CE057564-4AC8-39A7-7F90-2076C0B17D82}"/>
          </ac:cxnSpMkLst>
        </pc:cxnChg>
        <pc:cxnChg chg="mod topLvl">
          <ac:chgData name="Rizky Fajar" userId="490a5c0ae4650a6d" providerId="LiveId" clId="{5666174E-1FDC-4381-AE72-96AAAE51F635}" dt="2025-02-17T06:19:32.522" v="16009" actId="14100"/>
          <ac:cxnSpMkLst>
            <pc:docMk/>
            <pc:sldMk cId="355681110" sldId="4071"/>
            <ac:cxnSpMk id="44" creationId="{18A9ECD9-8FF2-BF87-892B-B13805411BA0}"/>
          </ac:cxnSpMkLst>
        </pc:cxnChg>
        <pc:cxnChg chg="add mod">
          <ac:chgData name="Rizky Fajar" userId="490a5c0ae4650a6d" providerId="LiveId" clId="{5666174E-1FDC-4381-AE72-96AAAE51F635}" dt="2025-02-17T07:08:46.193" v="17685" actId="1076"/>
          <ac:cxnSpMkLst>
            <pc:docMk/>
            <pc:sldMk cId="355681110" sldId="4071"/>
            <ac:cxnSpMk id="80" creationId="{C49BF47A-BAF7-9786-04D9-C47AB75F2EA4}"/>
          </ac:cxnSpMkLst>
        </pc:cxnChg>
        <pc:cxnChg chg="add mod">
          <ac:chgData name="Rizky Fajar" userId="490a5c0ae4650a6d" providerId="LiveId" clId="{5666174E-1FDC-4381-AE72-96AAAE51F635}" dt="2025-02-17T07:12:40.044" v="17776" actId="1038"/>
          <ac:cxnSpMkLst>
            <pc:docMk/>
            <pc:sldMk cId="355681110" sldId="4071"/>
            <ac:cxnSpMk id="115" creationId="{C1B18FD9-A8A0-ABAC-3531-906953014777}"/>
          </ac:cxnSpMkLst>
        </pc:cxnChg>
        <pc:cxnChg chg="add mod">
          <ac:chgData name="Rizky Fajar" userId="490a5c0ae4650a6d" providerId="LiveId" clId="{5666174E-1FDC-4381-AE72-96AAAE51F635}" dt="2025-02-17T07:11:34.452" v="17715" actId="1076"/>
          <ac:cxnSpMkLst>
            <pc:docMk/>
            <pc:sldMk cId="355681110" sldId="4071"/>
            <ac:cxnSpMk id="117" creationId="{EDFCE953-1376-904B-4B9F-C4952DF0CA72}"/>
          </ac:cxnSpMkLst>
        </pc:cxnChg>
        <pc:cxnChg chg="add mod">
          <ac:chgData name="Rizky Fajar" userId="490a5c0ae4650a6d" providerId="LiveId" clId="{5666174E-1FDC-4381-AE72-96AAAE51F635}" dt="2025-02-17T07:20:12.192" v="17847" actId="14100"/>
          <ac:cxnSpMkLst>
            <pc:docMk/>
            <pc:sldMk cId="355681110" sldId="4071"/>
            <ac:cxnSpMk id="119" creationId="{419A49BD-26AE-30CC-3DD8-12D4641B9FD6}"/>
          </ac:cxnSpMkLst>
        </pc:cxnChg>
      </pc:sldChg>
      <pc:sldChg chg="addSp delSp modSp add del mod">
        <pc:chgData name="Rizky Fajar" userId="490a5c0ae4650a6d" providerId="LiveId" clId="{5666174E-1FDC-4381-AE72-96AAAE51F635}" dt="2025-02-17T08:30:26.753" v="18024" actId="47"/>
        <pc:sldMkLst>
          <pc:docMk/>
          <pc:sldMk cId="562478276" sldId="4072"/>
        </pc:sldMkLst>
      </pc:sldChg>
      <pc:sldChg chg="addSp modSp add mod">
        <pc:chgData name="Rizky Fajar" userId="490a5c0ae4650a6d" providerId="LiveId" clId="{5666174E-1FDC-4381-AE72-96AAAE51F635}" dt="2025-02-17T08:29:52.311" v="18022" actId="1035"/>
        <pc:sldMkLst>
          <pc:docMk/>
          <pc:sldMk cId="2166661068" sldId="4073"/>
        </pc:sldMkLst>
        <pc:spChg chg="add mod">
          <ac:chgData name="Rizky Fajar" userId="490a5c0ae4650a6d" providerId="LiveId" clId="{5666174E-1FDC-4381-AE72-96AAAE51F635}" dt="2025-02-17T08:29:52.311" v="18022" actId="1035"/>
          <ac:spMkLst>
            <pc:docMk/>
            <pc:sldMk cId="2166661068" sldId="4073"/>
            <ac:spMk id="2" creationId="{E19513A0-BF93-7437-37F2-B1089CD10640}"/>
          </ac:spMkLst>
        </pc:spChg>
        <pc:spChg chg="mod">
          <ac:chgData name="Rizky Fajar" userId="490a5c0ae4650a6d" providerId="LiveId" clId="{5666174E-1FDC-4381-AE72-96AAAE51F635}" dt="2025-02-17T08:28:57.833" v="18010" actId="1076"/>
          <ac:spMkLst>
            <pc:docMk/>
            <pc:sldMk cId="2166661068" sldId="4073"/>
            <ac:spMk id="5" creationId="{0D81CA75-2690-EB8E-B2B3-633F9A963DD7}"/>
          </ac:spMkLst>
        </pc:spChg>
        <pc:spChg chg="mod">
          <ac:chgData name="Rizky Fajar" userId="490a5c0ae4650a6d" providerId="LiveId" clId="{5666174E-1FDC-4381-AE72-96AAAE51F635}" dt="2025-02-17T08:28:57.833" v="18010" actId="1076"/>
          <ac:spMkLst>
            <pc:docMk/>
            <pc:sldMk cId="2166661068" sldId="4073"/>
            <ac:spMk id="10" creationId="{CE3085B4-D678-E122-C415-ED697AC5FC39}"/>
          </ac:spMkLst>
        </pc:spChg>
        <pc:picChg chg="mod">
          <ac:chgData name="Rizky Fajar" userId="490a5c0ae4650a6d" providerId="LiveId" clId="{5666174E-1FDC-4381-AE72-96AAAE51F635}" dt="2025-02-17T08:28:11.185" v="18003" actId="1076"/>
          <ac:picMkLst>
            <pc:docMk/>
            <pc:sldMk cId="2166661068" sldId="4073"/>
            <ac:picMk id="12" creationId="{04E2F557-937F-51FB-53F2-7623D4421C29}"/>
          </ac:picMkLst>
        </pc:picChg>
      </pc:sldChg>
      <pc:sldChg chg="addSp delSp modSp add mod setBg">
        <pc:chgData name="Rizky Fajar" userId="490a5c0ae4650a6d" providerId="LiveId" clId="{5666174E-1FDC-4381-AE72-96AAAE51F635}" dt="2025-02-18T11:38:28.283" v="28547" actId="20577"/>
        <pc:sldMkLst>
          <pc:docMk/>
          <pc:sldMk cId="3906089006" sldId="4074"/>
        </pc:sldMkLst>
        <pc:spChg chg="mod">
          <ac:chgData name="Rizky Fajar" userId="490a5c0ae4650a6d" providerId="LiveId" clId="{5666174E-1FDC-4381-AE72-96AAAE51F635}" dt="2025-02-18T11:34:43.445" v="28348" actId="20577"/>
          <ac:spMkLst>
            <pc:docMk/>
            <pc:sldMk cId="3906089006" sldId="4074"/>
            <ac:spMk id="7" creationId="{E980650F-C064-FE8D-640F-8A1ABF5CE64D}"/>
          </ac:spMkLst>
        </pc:spChg>
        <pc:spChg chg="mod">
          <ac:chgData name="Rizky Fajar" userId="490a5c0ae4650a6d" providerId="LiveId" clId="{5666174E-1FDC-4381-AE72-96AAAE51F635}" dt="2025-02-17T10:59:59.879" v="20822" actId="1076"/>
          <ac:spMkLst>
            <pc:docMk/>
            <pc:sldMk cId="3906089006" sldId="4074"/>
            <ac:spMk id="13" creationId="{9010127A-0F30-1542-DF37-A06C740AD76F}"/>
          </ac:spMkLst>
        </pc:spChg>
        <pc:spChg chg="add mod">
          <ac:chgData name="Rizky Fajar" userId="490a5c0ae4650a6d" providerId="LiveId" clId="{5666174E-1FDC-4381-AE72-96AAAE51F635}" dt="2025-02-17T10:59:59.879" v="20822" actId="1076"/>
          <ac:spMkLst>
            <pc:docMk/>
            <pc:sldMk cId="3906089006" sldId="4074"/>
            <ac:spMk id="19" creationId="{F5BBD55D-E312-F662-BA7F-D0C6996ED888}"/>
          </ac:spMkLst>
        </pc:spChg>
        <pc:spChg chg="add mod">
          <ac:chgData name="Rizky Fajar" userId="490a5c0ae4650a6d" providerId="LiveId" clId="{5666174E-1FDC-4381-AE72-96AAAE51F635}" dt="2025-02-17T10:59:59.879" v="20822" actId="1076"/>
          <ac:spMkLst>
            <pc:docMk/>
            <pc:sldMk cId="3906089006" sldId="4074"/>
            <ac:spMk id="22" creationId="{A72EE4F8-8584-B84E-6546-56D031116F56}"/>
          </ac:spMkLst>
        </pc:spChg>
        <pc:spChg chg="mod">
          <ac:chgData name="Rizky Fajar" userId="490a5c0ae4650a6d" providerId="LiveId" clId="{5666174E-1FDC-4381-AE72-96AAAE51F635}" dt="2025-02-18T11:34:20.414" v="28333" actId="20577"/>
          <ac:spMkLst>
            <pc:docMk/>
            <pc:sldMk cId="3906089006" sldId="4074"/>
            <ac:spMk id="24" creationId="{33B620E1-E639-06AB-A8D6-9E7D11E66101}"/>
          </ac:spMkLst>
        </pc:spChg>
        <pc:spChg chg="add mod">
          <ac:chgData name="Rizky Fajar" userId="490a5c0ae4650a6d" providerId="LiveId" clId="{5666174E-1FDC-4381-AE72-96AAAE51F635}" dt="2025-02-18T11:38:28.283" v="28547" actId="20577"/>
          <ac:spMkLst>
            <pc:docMk/>
            <pc:sldMk cId="3906089006" sldId="4074"/>
            <ac:spMk id="28" creationId="{CA038FBA-8ED5-4DB9-A6EA-65529F86F6FF}"/>
          </ac:spMkLst>
        </pc:spChg>
        <pc:spChg chg="mod topLvl">
          <ac:chgData name="Rizky Fajar" userId="490a5c0ae4650a6d" providerId="LiveId" clId="{5666174E-1FDC-4381-AE72-96AAAE51F635}" dt="2025-02-17T11:00:39.400" v="20826" actId="1076"/>
          <ac:spMkLst>
            <pc:docMk/>
            <pc:sldMk cId="3906089006" sldId="4074"/>
            <ac:spMk id="33" creationId="{85D9E2BA-E1A5-5A80-5602-76DAF93A2768}"/>
          </ac:spMkLst>
        </pc:spChg>
        <pc:spChg chg="add mod">
          <ac:chgData name="Rizky Fajar" userId="490a5c0ae4650a6d" providerId="LiveId" clId="{5666174E-1FDC-4381-AE72-96AAAE51F635}" dt="2025-02-17T11:02:36.853" v="20827" actId="207"/>
          <ac:spMkLst>
            <pc:docMk/>
            <pc:sldMk cId="3906089006" sldId="4074"/>
            <ac:spMk id="37" creationId="{D1F374E2-108D-67B8-2CA5-0B0808AE619C}"/>
          </ac:spMkLst>
        </pc:spChg>
        <pc:spChg chg="add mod">
          <ac:chgData name="Rizky Fajar" userId="490a5c0ae4650a6d" providerId="LiveId" clId="{5666174E-1FDC-4381-AE72-96AAAE51F635}" dt="2025-02-17T11:02:39.979" v="20828" actId="207"/>
          <ac:spMkLst>
            <pc:docMk/>
            <pc:sldMk cId="3906089006" sldId="4074"/>
            <ac:spMk id="38" creationId="{950D0A4A-68FC-6A0F-4DD8-96A51BFC3526}"/>
          </ac:spMkLst>
        </pc:spChg>
        <pc:spChg chg="add mod topLvl">
          <ac:chgData name="Rizky Fajar" userId="490a5c0ae4650a6d" providerId="LiveId" clId="{5666174E-1FDC-4381-AE72-96AAAE51F635}" dt="2025-02-17T10:59:59.879" v="20822" actId="1076"/>
          <ac:spMkLst>
            <pc:docMk/>
            <pc:sldMk cId="3906089006" sldId="4074"/>
            <ac:spMk id="39" creationId="{A48FEFC8-F9A5-E7D4-E986-C0820BBBF69F}"/>
          </ac:spMkLst>
        </pc:spChg>
        <pc:spChg chg="add mod topLvl">
          <ac:chgData name="Rizky Fajar" userId="490a5c0ae4650a6d" providerId="LiveId" clId="{5666174E-1FDC-4381-AE72-96AAAE51F635}" dt="2025-02-17T10:59:59.879" v="20822" actId="1076"/>
          <ac:spMkLst>
            <pc:docMk/>
            <pc:sldMk cId="3906089006" sldId="4074"/>
            <ac:spMk id="40" creationId="{125EB049-3987-AECA-3103-47D552E85014}"/>
          </ac:spMkLst>
        </pc:spChg>
        <pc:spChg chg="add mod">
          <ac:chgData name="Rizky Fajar" userId="490a5c0ae4650a6d" providerId="LiveId" clId="{5666174E-1FDC-4381-AE72-96AAAE51F635}" dt="2025-02-18T11:34:46.991" v="28356" actId="20577"/>
          <ac:spMkLst>
            <pc:docMk/>
            <pc:sldMk cId="3906089006" sldId="4074"/>
            <ac:spMk id="45" creationId="{E32AFAB1-EB8E-2083-FF5E-1D64F4BC8E89}"/>
          </ac:spMkLst>
        </pc:spChg>
        <pc:spChg chg="add mod">
          <ac:chgData name="Rizky Fajar" userId="490a5c0ae4650a6d" providerId="LiveId" clId="{5666174E-1FDC-4381-AE72-96AAAE51F635}" dt="2025-02-17T10:59:59.879" v="20822" actId="1076"/>
          <ac:spMkLst>
            <pc:docMk/>
            <pc:sldMk cId="3906089006" sldId="4074"/>
            <ac:spMk id="46" creationId="{8170A626-96D3-D3A2-564C-687DEB7AB851}"/>
          </ac:spMkLst>
        </pc:spChg>
        <pc:spChg chg="add mod">
          <ac:chgData name="Rizky Fajar" userId="490a5c0ae4650a6d" providerId="LiveId" clId="{5666174E-1FDC-4381-AE72-96AAAE51F635}" dt="2025-02-17T10:59:59.879" v="20822" actId="1076"/>
          <ac:spMkLst>
            <pc:docMk/>
            <pc:sldMk cId="3906089006" sldId="4074"/>
            <ac:spMk id="47" creationId="{5BD9121E-86EC-C47A-F7CF-16522BC0C7DF}"/>
          </ac:spMkLst>
        </pc:spChg>
        <pc:spChg chg="mod">
          <ac:chgData name="Rizky Fajar" userId="490a5c0ae4650a6d" providerId="LiveId" clId="{5666174E-1FDC-4381-AE72-96AAAE51F635}" dt="2025-02-17T10:59:59.879" v="20822" actId="1076"/>
          <ac:spMkLst>
            <pc:docMk/>
            <pc:sldMk cId="3906089006" sldId="4074"/>
            <ac:spMk id="49" creationId="{4F6122E7-981F-3D15-93E0-4CBB974F38BF}"/>
          </ac:spMkLst>
        </pc:spChg>
        <pc:picChg chg="add mod">
          <ac:chgData name="Rizky Fajar" userId="490a5c0ae4650a6d" providerId="LiveId" clId="{5666174E-1FDC-4381-AE72-96AAAE51F635}" dt="2025-02-17T09:14:55.065" v="20017" actId="1076"/>
          <ac:picMkLst>
            <pc:docMk/>
            <pc:sldMk cId="3906089006" sldId="4074"/>
            <ac:picMk id="32" creationId="{70989FD3-ED1B-2473-2590-7A81430A6F5B}"/>
          </ac:picMkLst>
        </pc:picChg>
        <pc:picChg chg="add mod">
          <ac:chgData name="Rizky Fajar" userId="490a5c0ae4650a6d" providerId="LiveId" clId="{5666174E-1FDC-4381-AE72-96AAAE51F635}" dt="2025-02-17T09:15:49.262" v="20059" actId="1035"/>
          <ac:picMkLst>
            <pc:docMk/>
            <pc:sldMk cId="3906089006" sldId="4074"/>
            <ac:picMk id="35" creationId="{549D656F-86B2-5B68-0F81-2D57ACCBE0C8}"/>
          </ac:picMkLst>
        </pc:picChg>
        <pc:cxnChg chg="add mod">
          <ac:chgData name="Rizky Fajar" userId="490a5c0ae4650a6d" providerId="LiveId" clId="{5666174E-1FDC-4381-AE72-96AAAE51F635}" dt="2025-02-17T08:50:31.189" v="19233" actId="571"/>
          <ac:cxnSpMkLst>
            <pc:docMk/>
            <pc:sldMk cId="3906089006" sldId="4074"/>
            <ac:cxnSpMk id="20" creationId="{BD89EAF5-3209-1462-3ABF-44A56F347A04}"/>
          </ac:cxnSpMkLst>
        </pc:cxnChg>
        <pc:cxnChg chg="add mod">
          <ac:chgData name="Rizky Fajar" userId="490a5c0ae4650a6d" providerId="LiveId" clId="{5666174E-1FDC-4381-AE72-96AAAE51F635}" dt="2025-02-17T09:19:55.962" v="20578" actId="1037"/>
          <ac:cxnSpMkLst>
            <pc:docMk/>
            <pc:sldMk cId="3906089006" sldId="4074"/>
            <ac:cxnSpMk id="21" creationId="{1CB77535-ADCB-3C56-9265-F0947D7FCE35}"/>
          </ac:cxnSpMkLst>
        </pc:cxnChg>
        <pc:cxnChg chg="mod topLvl">
          <ac:chgData name="Rizky Fajar" userId="490a5c0ae4650a6d" providerId="LiveId" clId="{5666174E-1FDC-4381-AE72-96AAAE51F635}" dt="2025-02-17T11:00:37.024" v="20825" actId="165"/>
          <ac:cxnSpMkLst>
            <pc:docMk/>
            <pc:sldMk cId="3906089006" sldId="4074"/>
            <ac:cxnSpMk id="31" creationId="{E2E28941-9065-49DC-ED64-30C3328DC6CD}"/>
          </ac:cxnSpMkLst>
        </pc:cxnChg>
      </pc:sldChg>
      <pc:sldChg chg="modSp add mod">
        <pc:chgData name="Rizky Fajar" userId="490a5c0ae4650a6d" providerId="LiveId" clId="{5666174E-1FDC-4381-AE72-96AAAE51F635}" dt="2025-02-18T10:01:52.741" v="25310" actId="20577"/>
        <pc:sldMkLst>
          <pc:docMk/>
          <pc:sldMk cId="1920018756" sldId="4075"/>
        </pc:sldMkLst>
        <pc:spChg chg="mod">
          <ac:chgData name="Rizky Fajar" userId="490a5c0ae4650a6d" providerId="LiveId" clId="{5666174E-1FDC-4381-AE72-96AAAE51F635}" dt="2025-02-18T10:01:52.741" v="25310" actId="20577"/>
          <ac:spMkLst>
            <pc:docMk/>
            <pc:sldMk cId="1920018756" sldId="4075"/>
            <ac:spMk id="24" creationId="{AAB80B46-8804-2744-A162-E3FA55BD943A}"/>
          </ac:spMkLst>
        </pc:spChg>
      </pc:sldChg>
      <pc:sldChg chg="add">
        <pc:chgData name="Rizky Fajar" userId="490a5c0ae4650a6d" providerId="LiveId" clId="{5666174E-1FDC-4381-AE72-96AAAE51F635}" dt="2025-02-17T09:21:55.016" v="20583"/>
        <pc:sldMkLst>
          <pc:docMk/>
          <pc:sldMk cId="2413160194" sldId="4076"/>
        </pc:sldMkLst>
      </pc:sldChg>
      <pc:sldChg chg="modSp add mod">
        <pc:chgData name="Rizky Fajar" userId="490a5c0ae4650a6d" providerId="LiveId" clId="{5666174E-1FDC-4381-AE72-96AAAE51F635}" dt="2025-02-17T13:21:34.001" v="20966" actId="1076"/>
        <pc:sldMkLst>
          <pc:docMk/>
          <pc:sldMk cId="2250815749" sldId="4077"/>
        </pc:sldMkLst>
      </pc:sldChg>
      <pc:sldChg chg="addSp delSp modSp add mod">
        <pc:chgData name="Rizky Fajar" userId="490a5c0ae4650a6d" providerId="LiveId" clId="{5666174E-1FDC-4381-AE72-96AAAE51F635}" dt="2025-02-18T11:13:12.384" v="27687" actId="20577"/>
        <pc:sldMkLst>
          <pc:docMk/>
          <pc:sldMk cId="813512623" sldId="4078"/>
        </pc:sldMkLst>
        <pc:spChg chg="add mod">
          <ac:chgData name="Rizky Fajar" userId="490a5c0ae4650a6d" providerId="LiveId" clId="{5666174E-1FDC-4381-AE72-96AAAE51F635}" dt="2025-02-18T11:13:12.384" v="27687" actId="20577"/>
          <ac:spMkLst>
            <pc:docMk/>
            <pc:sldMk cId="813512623" sldId="4078"/>
            <ac:spMk id="2" creationId="{354651E8-228F-4199-DCB7-B02B8272D8CC}"/>
          </ac:spMkLst>
        </pc:spChg>
      </pc:sldChg>
      <pc:sldChg chg="delSp modSp add del mod ord">
        <pc:chgData name="Rizky Fajar" userId="490a5c0ae4650a6d" providerId="LiveId" clId="{5666174E-1FDC-4381-AE72-96AAAE51F635}" dt="2025-02-18T13:02:29.585" v="28675" actId="47"/>
        <pc:sldMkLst>
          <pc:docMk/>
          <pc:sldMk cId="1092103503" sldId="4079"/>
        </pc:sldMkLst>
      </pc:sldChg>
      <pc:sldChg chg="modSp add mod">
        <pc:chgData name="Rizky Fajar" userId="490a5c0ae4650a6d" providerId="LiveId" clId="{5666174E-1FDC-4381-AE72-96AAAE51F635}" dt="2025-02-18T11:13:22.869" v="27732" actId="20577"/>
        <pc:sldMkLst>
          <pc:docMk/>
          <pc:sldMk cId="508777644" sldId="4080"/>
        </pc:sldMkLst>
        <pc:spChg chg="mod">
          <ac:chgData name="Rizky Fajar" userId="490a5c0ae4650a6d" providerId="LiveId" clId="{5666174E-1FDC-4381-AE72-96AAAE51F635}" dt="2025-02-18T11:13:22.869" v="27732" actId="20577"/>
          <ac:spMkLst>
            <pc:docMk/>
            <pc:sldMk cId="508777644" sldId="4080"/>
            <ac:spMk id="2" creationId="{EA582728-516B-A313-6965-152D539E702B}"/>
          </ac:spMkLst>
        </pc:spChg>
        <pc:spChg chg="mod">
          <ac:chgData name="Rizky Fajar" userId="490a5c0ae4650a6d" providerId="LiveId" clId="{5666174E-1FDC-4381-AE72-96AAAE51F635}" dt="2025-02-18T04:17:28.668" v="21383" actId="20577"/>
          <ac:spMkLst>
            <pc:docMk/>
            <pc:sldMk cId="508777644" sldId="4080"/>
            <ac:spMk id="24" creationId="{E657BEBE-C37D-6868-9C00-3399B5F2427D}"/>
          </ac:spMkLst>
        </pc:spChg>
      </pc:sldChg>
      <pc:sldChg chg="del">
        <pc:chgData name="Rizky Fajar" userId="490a5c0ae4650a6d" providerId="LiveId" clId="{5666174E-1FDC-4381-AE72-96AAAE51F635}" dt="2025-02-19T13:20:11.968" v="31953" actId="2696"/>
        <pc:sldMkLst>
          <pc:docMk/>
          <pc:sldMk cId="2169134771" sldId="4080"/>
        </pc:sldMkLst>
      </pc:sldChg>
      <pc:sldChg chg="addSp delSp modSp add mod setBg">
        <pc:chgData name="Rizky Fajar" userId="490a5c0ae4650a6d" providerId="LiveId" clId="{5666174E-1FDC-4381-AE72-96AAAE51F635}" dt="2025-02-18T11:42:03.158" v="28585" actId="404"/>
        <pc:sldMkLst>
          <pc:docMk/>
          <pc:sldMk cId="704571891" sldId="4081"/>
        </pc:sldMkLst>
        <pc:spChg chg="del">
          <ac:chgData name="Rizky Fajar" userId="490a5c0ae4650a6d" providerId="LiveId" clId="{5666174E-1FDC-4381-AE72-96AAAE51F635}" dt="2025-02-18T06:02:45.127" v="21591" actId="478"/>
          <ac:spMkLst>
            <pc:docMk/>
            <pc:sldMk cId="704571891" sldId="4081"/>
            <ac:spMk id="7" creationId="{5FEE9680-B162-3E63-6818-E5EE1DDEF7B9}"/>
          </ac:spMkLst>
        </pc:spChg>
        <pc:spChg chg="add del mod">
          <ac:chgData name="Rizky Fajar" userId="490a5c0ae4650a6d" providerId="LiveId" clId="{5666174E-1FDC-4381-AE72-96AAAE51F635}" dt="2025-02-18T06:48:13.991" v="21866" actId="478"/>
          <ac:spMkLst>
            <pc:docMk/>
            <pc:sldMk cId="704571891" sldId="4081"/>
            <ac:spMk id="9" creationId="{DC709E13-B15E-246B-9C82-E820E0B3AE49}"/>
          </ac:spMkLst>
        </pc:spChg>
        <pc:spChg chg="del">
          <ac:chgData name="Rizky Fajar" userId="490a5c0ae4650a6d" providerId="LiveId" clId="{5666174E-1FDC-4381-AE72-96AAAE51F635}" dt="2025-02-18T06:02:45.127" v="21591" actId="478"/>
          <ac:spMkLst>
            <pc:docMk/>
            <pc:sldMk cId="704571891" sldId="4081"/>
            <ac:spMk id="13" creationId="{6719567A-63F1-588E-086C-5E8BD32553E8}"/>
          </ac:spMkLst>
        </pc:spChg>
        <pc:spChg chg="del mod">
          <ac:chgData name="Rizky Fajar" userId="490a5c0ae4650a6d" providerId="LiveId" clId="{5666174E-1FDC-4381-AE72-96AAAE51F635}" dt="2025-02-18T06:48:13.991" v="21866" actId="478"/>
          <ac:spMkLst>
            <pc:docMk/>
            <pc:sldMk cId="704571891" sldId="4081"/>
            <ac:spMk id="15" creationId="{DCE7E2B6-5047-6D33-1125-16524A2896BD}"/>
          </ac:spMkLst>
        </pc:spChg>
        <pc:spChg chg="del mod">
          <ac:chgData name="Rizky Fajar" userId="490a5c0ae4650a6d" providerId="LiveId" clId="{5666174E-1FDC-4381-AE72-96AAAE51F635}" dt="2025-02-18T06:48:13.991" v="21866" actId="478"/>
          <ac:spMkLst>
            <pc:docMk/>
            <pc:sldMk cId="704571891" sldId="4081"/>
            <ac:spMk id="20" creationId="{7AC1DAF4-D7C9-047C-2C23-6B983CD28797}"/>
          </ac:spMkLst>
        </pc:spChg>
        <pc:spChg chg="del mod">
          <ac:chgData name="Rizky Fajar" userId="490a5c0ae4650a6d" providerId="LiveId" clId="{5666174E-1FDC-4381-AE72-96AAAE51F635}" dt="2025-02-18T06:48:13.991" v="21866" actId="478"/>
          <ac:spMkLst>
            <pc:docMk/>
            <pc:sldMk cId="704571891" sldId="4081"/>
            <ac:spMk id="22" creationId="{34B9022A-BB97-BCEB-3E1C-BF0A9647E7F4}"/>
          </ac:spMkLst>
        </pc:spChg>
        <pc:spChg chg="del mod">
          <ac:chgData name="Rizky Fajar" userId="490a5c0ae4650a6d" providerId="LiveId" clId="{5666174E-1FDC-4381-AE72-96AAAE51F635}" dt="2025-02-18T06:48:16.460" v="21867" actId="478"/>
          <ac:spMkLst>
            <pc:docMk/>
            <pc:sldMk cId="704571891" sldId="4081"/>
            <ac:spMk id="24" creationId="{77015589-F93B-274D-77DA-03A5EF011D64}"/>
          </ac:spMkLst>
        </pc:spChg>
        <pc:spChg chg="add del mod">
          <ac:chgData name="Rizky Fajar" userId="490a5c0ae4650a6d" providerId="LiveId" clId="{5666174E-1FDC-4381-AE72-96AAAE51F635}" dt="2025-02-18T06:48:13.991" v="21866" actId="478"/>
          <ac:spMkLst>
            <pc:docMk/>
            <pc:sldMk cId="704571891" sldId="4081"/>
            <ac:spMk id="28" creationId="{73F57C3B-534C-996E-BA83-FC18CDFEFD3B}"/>
          </ac:spMkLst>
        </pc:spChg>
        <pc:spChg chg="del mod">
          <ac:chgData name="Rizky Fajar" userId="490a5c0ae4650a6d" providerId="LiveId" clId="{5666174E-1FDC-4381-AE72-96AAAE51F635}" dt="2025-02-18T06:48:13.991" v="21866" actId="478"/>
          <ac:spMkLst>
            <pc:docMk/>
            <pc:sldMk cId="704571891" sldId="4081"/>
            <ac:spMk id="29" creationId="{CF1CE7A8-9394-E2AD-5B9B-4688CECE184A}"/>
          </ac:spMkLst>
        </pc:spChg>
        <pc:spChg chg="del">
          <ac:chgData name="Rizky Fajar" userId="490a5c0ae4650a6d" providerId="LiveId" clId="{5666174E-1FDC-4381-AE72-96AAAE51F635}" dt="2025-02-18T06:02:45.127" v="21591" actId="478"/>
          <ac:spMkLst>
            <pc:docMk/>
            <pc:sldMk cId="704571891" sldId="4081"/>
            <ac:spMk id="30" creationId="{C22DF7F2-54BD-D335-982D-74B52B7AAFE3}"/>
          </ac:spMkLst>
        </pc:spChg>
        <pc:spChg chg="del mod">
          <ac:chgData name="Rizky Fajar" userId="490a5c0ae4650a6d" providerId="LiveId" clId="{5666174E-1FDC-4381-AE72-96AAAE51F635}" dt="2025-02-18T06:48:13.991" v="21866" actId="478"/>
          <ac:spMkLst>
            <pc:docMk/>
            <pc:sldMk cId="704571891" sldId="4081"/>
            <ac:spMk id="32" creationId="{4E720E93-BDB4-86A0-31E4-EA4FF728FE0E}"/>
          </ac:spMkLst>
        </pc:spChg>
        <pc:spChg chg="mod">
          <ac:chgData name="Rizky Fajar" userId="490a5c0ae4650a6d" providerId="LiveId" clId="{5666174E-1FDC-4381-AE72-96AAAE51F635}" dt="2025-02-18T06:02:58.627" v="21594"/>
          <ac:spMkLst>
            <pc:docMk/>
            <pc:sldMk cId="704571891" sldId="4081"/>
            <ac:spMk id="37" creationId="{282363F4-C8B6-E2C1-D1F8-B18EBD0DF392}"/>
          </ac:spMkLst>
        </pc:spChg>
        <pc:spChg chg="mod">
          <ac:chgData name="Rizky Fajar" userId="490a5c0ae4650a6d" providerId="LiveId" clId="{5666174E-1FDC-4381-AE72-96AAAE51F635}" dt="2025-02-18T06:02:58.627" v="21594"/>
          <ac:spMkLst>
            <pc:docMk/>
            <pc:sldMk cId="704571891" sldId="4081"/>
            <ac:spMk id="41" creationId="{8F96E86A-6137-ECF5-CA11-986BE1342AA2}"/>
          </ac:spMkLst>
        </pc:spChg>
        <pc:spChg chg="del">
          <ac:chgData name="Rizky Fajar" userId="490a5c0ae4650a6d" providerId="LiveId" clId="{5666174E-1FDC-4381-AE72-96AAAE51F635}" dt="2025-02-18T06:02:45.127" v="21591" actId="478"/>
          <ac:spMkLst>
            <pc:docMk/>
            <pc:sldMk cId="704571891" sldId="4081"/>
            <ac:spMk id="49" creationId="{FDF6D1A9-8F7C-E0F9-207D-FA8B5ADB721C}"/>
          </ac:spMkLst>
        </pc:spChg>
        <pc:spChg chg="mod">
          <ac:chgData name="Rizky Fajar" userId="490a5c0ae4650a6d" providerId="LiveId" clId="{5666174E-1FDC-4381-AE72-96AAAE51F635}" dt="2025-02-18T06:02:58.627" v="21594"/>
          <ac:spMkLst>
            <pc:docMk/>
            <pc:sldMk cId="704571891" sldId="4081"/>
            <ac:spMk id="54" creationId="{520453DE-1B4A-66AD-8742-01CF72CCDD2C}"/>
          </ac:spMkLst>
        </pc:spChg>
        <pc:spChg chg="del">
          <ac:chgData name="Rizky Fajar" userId="490a5c0ae4650a6d" providerId="LiveId" clId="{5666174E-1FDC-4381-AE72-96AAAE51F635}" dt="2025-02-18T06:02:46.471" v="21592" actId="478"/>
          <ac:spMkLst>
            <pc:docMk/>
            <pc:sldMk cId="704571891" sldId="4081"/>
            <ac:spMk id="55" creationId="{D797FB7B-3D31-2C1C-3335-64E2D6327AB4}"/>
          </ac:spMkLst>
        </pc:spChg>
        <pc:spChg chg="mod">
          <ac:chgData name="Rizky Fajar" userId="490a5c0ae4650a6d" providerId="LiveId" clId="{5666174E-1FDC-4381-AE72-96AAAE51F635}" dt="2025-02-18T06:02:58.627" v="21594"/>
          <ac:spMkLst>
            <pc:docMk/>
            <pc:sldMk cId="704571891" sldId="4081"/>
            <ac:spMk id="57" creationId="{C4E36619-41E8-64E0-1837-94DF0A1041DB}"/>
          </ac:spMkLst>
        </pc:spChg>
        <pc:spChg chg="mod">
          <ac:chgData name="Rizky Fajar" userId="490a5c0ae4650a6d" providerId="LiveId" clId="{5666174E-1FDC-4381-AE72-96AAAE51F635}" dt="2025-02-18T06:02:58.627" v="21594"/>
          <ac:spMkLst>
            <pc:docMk/>
            <pc:sldMk cId="704571891" sldId="4081"/>
            <ac:spMk id="61" creationId="{56426301-9629-2709-AC64-9FD51DB50768}"/>
          </ac:spMkLst>
        </pc:spChg>
        <pc:spChg chg="mod">
          <ac:chgData name="Rizky Fajar" userId="490a5c0ae4650a6d" providerId="LiveId" clId="{5666174E-1FDC-4381-AE72-96AAAE51F635}" dt="2025-02-18T06:02:58.627" v="21594"/>
          <ac:spMkLst>
            <pc:docMk/>
            <pc:sldMk cId="704571891" sldId="4081"/>
            <ac:spMk id="66" creationId="{7E56EE5B-479E-58B3-BC63-E06840A0077F}"/>
          </ac:spMkLst>
        </pc:spChg>
        <pc:spChg chg="mod">
          <ac:chgData name="Rizky Fajar" userId="490a5c0ae4650a6d" providerId="LiveId" clId="{5666174E-1FDC-4381-AE72-96AAAE51F635}" dt="2025-02-18T06:02:58.627" v="21594"/>
          <ac:spMkLst>
            <pc:docMk/>
            <pc:sldMk cId="704571891" sldId="4081"/>
            <ac:spMk id="81" creationId="{8953ED96-DA41-7D68-7A1C-3DD13052B5CE}"/>
          </ac:spMkLst>
        </pc:spChg>
        <pc:spChg chg="del">
          <ac:chgData name="Rizky Fajar" userId="490a5c0ae4650a6d" providerId="LiveId" clId="{5666174E-1FDC-4381-AE72-96AAAE51F635}" dt="2025-02-18T06:02:45.127" v="21591" actId="478"/>
          <ac:spMkLst>
            <pc:docMk/>
            <pc:sldMk cId="704571891" sldId="4081"/>
            <ac:spMk id="82" creationId="{86DA8A08-5B35-76F7-67B7-B3CB0B97FFCD}"/>
          </ac:spMkLst>
        </pc:spChg>
        <pc:spChg chg="mod">
          <ac:chgData name="Rizky Fajar" userId="490a5c0ae4650a6d" providerId="LiveId" clId="{5666174E-1FDC-4381-AE72-96AAAE51F635}" dt="2025-02-18T06:02:58.627" v="21594"/>
          <ac:spMkLst>
            <pc:docMk/>
            <pc:sldMk cId="704571891" sldId="4081"/>
            <ac:spMk id="86" creationId="{AE585C53-F4CF-5089-2D80-C7D073300BF7}"/>
          </ac:spMkLst>
        </pc:spChg>
        <pc:spChg chg="del mod">
          <ac:chgData name="Rizky Fajar" userId="490a5c0ae4650a6d" providerId="LiveId" clId="{5666174E-1FDC-4381-AE72-96AAAE51F635}" dt="2025-02-18T06:48:13.991" v="21866" actId="478"/>
          <ac:spMkLst>
            <pc:docMk/>
            <pc:sldMk cId="704571891" sldId="4081"/>
            <ac:spMk id="89" creationId="{1643B858-9FD6-DF2A-165E-57AD428DF839}"/>
          </ac:spMkLst>
        </pc:spChg>
        <pc:spChg chg="del mod">
          <ac:chgData name="Rizky Fajar" userId="490a5c0ae4650a6d" providerId="LiveId" clId="{5666174E-1FDC-4381-AE72-96AAAE51F635}" dt="2025-02-18T06:48:13.991" v="21866" actId="478"/>
          <ac:spMkLst>
            <pc:docMk/>
            <pc:sldMk cId="704571891" sldId="4081"/>
            <ac:spMk id="91" creationId="{86BE4C31-57DE-5CE9-C57A-861041C4E26A}"/>
          </ac:spMkLst>
        </pc:spChg>
        <pc:spChg chg="del mod">
          <ac:chgData name="Rizky Fajar" userId="490a5c0ae4650a6d" providerId="LiveId" clId="{5666174E-1FDC-4381-AE72-96AAAE51F635}" dt="2025-02-18T06:48:13.991" v="21866" actId="478"/>
          <ac:spMkLst>
            <pc:docMk/>
            <pc:sldMk cId="704571891" sldId="4081"/>
            <ac:spMk id="95" creationId="{AE18F4CF-9B74-FAF4-5A6C-CDAF8112AC08}"/>
          </ac:spMkLst>
        </pc:spChg>
        <pc:spChg chg="del mod">
          <ac:chgData name="Rizky Fajar" userId="490a5c0ae4650a6d" providerId="LiveId" clId="{5666174E-1FDC-4381-AE72-96AAAE51F635}" dt="2025-02-18T06:51:32.105" v="22255" actId="478"/>
          <ac:spMkLst>
            <pc:docMk/>
            <pc:sldMk cId="704571891" sldId="4081"/>
            <ac:spMk id="98" creationId="{CDF0843F-5109-CCDE-4B87-11016C6D47A7}"/>
          </ac:spMkLst>
        </pc:spChg>
        <pc:spChg chg="del mod">
          <ac:chgData name="Rizky Fajar" userId="490a5c0ae4650a6d" providerId="LiveId" clId="{5666174E-1FDC-4381-AE72-96AAAE51F635}" dt="2025-02-18T06:51:33.480" v="22256" actId="478"/>
          <ac:spMkLst>
            <pc:docMk/>
            <pc:sldMk cId="704571891" sldId="4081"/>
            <ac:spMk id="100" creationId="{9D7E5EA3-F7C9-7AC6-A591-1916774FCE1E}"/>
          </ac:spMkLst>
        </pc:spChg>
        <pc:spChg chg="add mod">
          <ac:chgData name="Rizky Fajar" userId="490a5c0ae4650a6d" providerId="LiveId" clId="{5666174E-1FDC-4381-AE72-96AAAE51F635}" dt="2025-02-18T11:39:47.251" v="28577" actId="20577"/>
          <ac:spMkLst>
            <pc:docMk/>
            <pc:sldMk cId="704571891" sldId="4081"/>
            <ac:spMk id="103" creationId="{B78E0B0B-6FAF-4B34-062E-F79C0B407897}"/>
          </ac:spMkLst>
        </pc:spChg>
        <pc:spChg chg="add mod">
          <ac:chgData name="Rizky Fajar" userId="490a5c0ae4650a6d" providerId="LiveId" clId="{5666174E-1FDC-4381-AE72-96AAAE51F635}" dt="2025-02-18T07:37:54.960" v="25241" actId="20577"/>
          <ac:spMkLst>
            <pc:docMk/>
            <pc:sldMk cId="704571891" sldId="4081"/>
            <ac:spMk id="105" creationId="{1F1C8F87-8BDF-410D-F96F-9B28537C620B}"/>
          </ac:spMkLst>
        </pc:spChg>
        <pc:spChg chg="add mod">
          <ac:chgData name="Rizky Fajar" userId="490a5c0ae4650a6d" providerId="LiveId" clId="{5666174E-1FDC-4381-AE72-96AAAE51F635}" dt="2025-02-18T07:38:01.053" v="25268" actId="20577"/>
          <ac:spMkLst>
            <pc:docMk/>
            <pc:sldMk cId="704571891" sldId="4081"/>
            <ac:spMk id="107" creationId="{892589C2-98DB-29FC-B12B-E4568F30579C}"/>
          </ac:spMkLst>
        </pc:spChg>
        <pc:spChg chg="del">
          <ac:chgData name="Rizky Fajar" userId="490a5c0ae4650a6d" providerId="LiveId" clId="{5666174E-1FDC-4381-AE72-96AAAE51F635}" dt="2025-02-18T06:02:45.127" v="21591" actId="478"/>
          <ac:spMkLst>
            <pc:docMk/>
            <pc:sldMk cId="704571891" sldId="4081"/>
            <ac:spMk id="108" creationId="{45549323-1AD3-17B4-E23D-EAF771787803}"/>
          </ac:spMkLst>
        </pc:spChg>
        <pc:spChg chg="del">
          <ac:chgData name="Rizky Fajar" userId="490a5c0ae4650a6d" providerId="LiveId" clId="{5666174E-1FDC-4381-AE72-96AAAE51F635}" dt="2025-02-18T06:02:58.143" v="21593" actId="478"/>
          <ac:spMkLst>
            <pc:docMk/>
            <pc:sldMk cId="704571891" sldId="4081"/>
            <ac:spMk id="109" creationId="{AE5BF549-E063-AA7A-AB8E-65D73B5E6884}"/>
          </ac:spMkLst>
        </pc:spChg>
        <pc:spChg chg="del">
          <ac:chgData name="Rizky Fajar" userId="490a5c0ae4650a6d" providerId="LiveId" clId="{5666174E-1FDC-4381-AE72-96AAAE51F635}" dt="2025-02-18T06:02:45.127" v="21591" actId="478"/>
          <ac:spMkLst>
            <pc:docMk/>
            <pc:sldMk cId="704571891" sldId="4081"/>
            <ac:spMk id="110" creationId="{CA40C039-281D-BAA5-C191-54C100277535}"/>
          </ac:spMkLst>
        </pc:spChg>
        <pc:spChg chg="add mod">
          <ac:chgData name="Rizky Fajar" userId="490a5c0ae4650a6d" providerId="LiveId" clId="{5666174E-1FDC-4381-AE72-96AAAE51F635}" dt="2025-02-18T07:22:59.273" v="24702" actId="1076"/>
          <ac:spMkLst>
            <pc:docMk/>
            <pc:sldMk cId="704571891" sldId="4081"/>
            <ac:spMk id="112" creationId="{36ED96FE-F47A-A358-5D6B-13BECC791E15}"/>
          </ac:spMkLst>
        </pc:spChg>
        <pc:spChg chg="del">
          <ac:chgData name="Rizky Fajar" userId="490a5c0ae4650a6d" providerId="LiveId" clId="{5666174E-1FDC-4381-AE72-96AAAE51F635}" dt="2025-02-18T06:02:45.127" v="21591" actId="478"/>
          <ac:spMkLst>
            <pc:docMk/>
            <pc:sldMk cId="704571891" sldId="4081"/>
            <ac:spMk id="113" creationId="{41F5F735-6B2E-9D61-0C8E-A69956048E90}"/>
          </ac:spMkLst>
        </pc:spChg>
        <pc:spChg chg="add mod">
          <ac:chgData name="Rizky Fajar" userId="490a5c0ae4650a6d" providerId="LiveId" clId="{5666174E-1FDC-4381-AE72-96AAAE51F635}" dt="2025-02-18T11:42:03.158" v="28585" actId="404"/>
          <ac:spMkLst>
            <pc:docMk/>
            <pc:sldMk cId="704571891" sldId="4081"/>
            <ac:spMk id="118" creationId="{DBDD57B4-9626-EFBE-FA25-77388ED6F757}"/>
          </ac:spMkLst>
        </pc:spChg>
        <pc:spChg chg="add mod">
          <ac:chgData name="Rizky Fajar" userId="490a5c0ae4650a6d" providerId="LiveId" clId="{5666174E-1FDC-4381-AE72-96AAAE51F635}" dt="2025-02-18T11:42:02.767" v="28584" actId="404"/>
          <ac:spMkLst>
            <pc:docMk/>
            <pc:sldMk cId="704571891" sldId="4081"/>
            <ac:spMk id="120" creationId="{2E597272-53F5-24F4-EF70-62C7186D9CCE}"/>
          </ac:spMkLst>
        </pc:spChg>
        <pc:spChg chg="add mod">
          <ac:chgData name="Rizky Fajar" userId="490a5c0ae4650a6d" providerId="LiveId" clId="{5666174E-1FDC-4381-AE72-96AAAE51F635}" dt="2025-02-18T11:42:02.424" v="28583" actId="404"/>
          <ac:spMkLst>
            <pc:docMk/>
            <pc:sldMk cId="704571891" sldId="4081"/>
            <ac:spMk id="121" creationId="{465CF6C2-D280-9EE7-F312-9B409D738DAB}"/>
          </ac:spMkLst>
        </pc:spChg>
        <pc:spChg chg="add mod">
          <ac:chgData name="Rizky Fajar" userId="490a5c0ae4650a6d" providerId="LiveId" clId="{5666174E-1FDC-4381-AE72-96AAAE51F635}" dt="2025-02-18T07:28:43.053" v="24743" actId="14100"/>
          <ac:spMkLst>
            <pc:docMk/>
            <pc:sldMk cId="704571891" sldId="4081"/>
            <ac:spMk id="123" creationId="{37F981BE-3283-9DA6-FF8C-81E4F4014E15}"/>
          </ac:spMkLst>
        </pc:spChg>
        <pc:spChg chg="del">
          <ac:chgData name="Rizky Fajar" userId="490a5c0ae4650a6d" providerId="LiveId" clId="{5666174E-1FDC-4381-AE72-96AAAE51F635}" dt="2025-02-18T06:02:45.127" v="21591" actId="478"/>
          <ac:spMkLst>
            <pc:docMk/>
            <pc:sldMk cId="704571891" sldId="4081"/>
            <ac:spMk id="125" creationId="{35F42A4F-BF35-A724-6DC9-55F5CCCD78A6}"/>
          </ac:spMkLst>
        </pc:spChg>
        <pc:spChg chg="del mod">
          <ac:chgData name="Rizky Fajar" userId="490a5c0ae4650a6d" providerId="LiveId" clId="{5666174E-1FDC-4381-AE72-96AAAE51F635}" dt="2025-02-18T06:03:00.127" v="21596" actId="478"/>
          <ac:spMkLst>
            <pc:docMk/>
            <pc:sldMk cId="704571891" sldId="4081"/>
            <ac:spMk id="126" creationId="{6B19A6D3-88B7-4E8D-3522-50BA488A5C61}"/>
          </ac:spMkLst>
        </pc:spChg>
        <pc:spChg chg="del">
          <ac:chgData name="Rizky Fajar" userId="490a5c0ae4650a6d" providerId="LiveId" clId="{5666174E-1FDC-4381-AE72-96AAAE51F635}" dt="2025-02-18T06:02:45.127" v="21591" actId="478"/>
          <ac:spMkLst>
            <pc:docMk/>
            <pc:sldMk cId="704571891" sldId="4081"/>
            <ac:spMk id="128" creationId="{E529D4FE-377B-431D-6CCF-DF13EEC5061E}"/>
          </ac:spMkLst>
        </pc:spChg>
        <pc:spChg chg="add del mod topLvl">
          <ac:chgData name="Rizky Fajar" userId="490a5c0ae4650a6d" providerId="LiveId" clId="{5666174E-1FDC-4381-AE72-96AAAE51F635}" dt="2025-02-18T07:21:54.132" v="24677" actId="478"/>
          <ac:spMkLst>
            <pc:docMk/>
            <pc:sldMk cId="704571891" sldId="4081"/>
            <ac:spMk id="130" creationId="{4D1F9D3E-82E7-54DD-9070-4F79A851655F}"/>
          </ac:spMkLst>
        </pc:spChg>
        <pc:spChg chg="add mod">
          <ac:chgData name="Rizky Fajar" userId="490a5c0ae4650a6d" providerId="LiveId" clId="{5666174E-1FDC-4381-AE72-96AAAE51F635}" dt="2025-02-18T07:23:26.147" v="24712" actId="1035"/>
          <ac:spMkLst>
            <pc:docMk/>
            <pc:sldMk cId="704571891" sldId="4081"/>
            <ac:spMk id="137" creationId="{D66049F6-8C24-3B7E-2D9C-EC550487301D}"/>
          </ac:spMkLst>
        </pc:spChg>
        <pc:spChg chg="add mod">
          <ac:chgData name="Rizky Fajar" userId="490a5c0ae4650a6d" providerId="LiveId" clId="{5666174E-1FDC-4381-AE72-96AAAE51F635}" dt="2025-02-18T07:30:11.538" v="24758" actId="1076"/>
          <ac:spMkLst>
            <pc:docMk/>
            <pc:sldMk cId="704571891" sldId="4081"/>
            <ac:spMk id="140" creationId="{5B7CBF77-D965-95EA-1E56-A5E654E34250}"/>
          </ac:spMkLst>
        </pc:spChg>
        <pc:grpChg chg="mod">
          <ac:chgData name="Rizky Fajar" userId="490a5c0ae4650a6d" providerId="LiveId" clId="{5666174E-1FDC-4381-AE72-96AAAE51F635}" dt="2025-02-18T06:14:35.772" v="21602" actId="1076"/>
          <ac:grpSpMkLst>
            <pc:docMk/>
            <pc:sldMk cId="704571891" sldId="4081"/>
            <ac:grpSpMk id="53" creationId="{A8DDE09E-8DF4-DDF2-85DC-5604399D6405}"/>
          </ac:grpSpMkLst>
        </pc:grpChg>
        <pc:grpChg chg="del">
          <ac:chgData name="Rizky Fajar" userId="490a5c0ae4650a6d" providerId="LiveId" clId="{5666174E-1FDC-4381-AE72-96AAAE51F635}" dt="2025-02-18T06:02:58.143" v="21593" actId="478"/>
          <ac:grpSpMkLst>
            <pc:docMk/>
            <pc:sldMk cId="704571891" sldId="4081"/>
            <ac:grpSpMk id="99" creationId="{80D6DC59-AF30-782E-EBE0-704FA33A132E}"/>
          </ac:grpSpMkLst>
        </pc:grpChg>
        <pc:grpChg chg="add del mod">
          <ac:chgData name="Rizky Fajar" userId="490a5c0ae4650a6d" providerId="LiveId" clId="{5666174E-1FDC-4381-AE72-96AAAE51F635}" dt="2025-02-18T07:20:56.772" v="24664" actId="165"/>
          <ac:grpSpMkLst>
            <pc:docMk/>
            <pc:sldMk cId="704571891" sldId="4081"/>
            <ac:grpSpMk id="132" creationId="{D6ED5306-149B-1A84-D377-6AE026728BD8}"/>
          </ac:grpSpMkLst>
        </pc:grpChg>
        <pc:picChg chg="del">
          <ac:chgData name="Rizky Fajar" userId="490a5c0ae4650a6d" providerId="LiveId" clId="{5666174E-1FDC-4381-AE72-96AAAE51F635}" dt="2025-02-18T06:48:51.506" v="21870" actId="478"/>
          <ac:picMkLst>
            <pc:docMk/>
            <pc:sldMk cId="704571891" sldId="4081"/>
            <ac:picMk id="14" creationId="{44179D1C-4675-04BC-F8D1-BED1261FA255}"/>
          </ac:picMkLst>
        </pc:picChg>
        <pc:picChg chg="del">
          <ac:chgData name="Rizky Fajar" userId="490a5c0ae4650a6d" providerId="LiveId" clId="{5666174E-1FDC-4381-AE72-96AAAE51F635}" dt="2025-02-18T06:48:54.901" v="21872" actId="478"/>
          <ac:picMkLst>
            <pc:docMk/>
            <pc:sldMk cId="704571891" sldId="4081"/>
            <ac:picMk id="36" creationId="{D0B9E056-3482-39B3-2378-4FE48E0C280F}"/>
          </ac:picMkLst>
        </pc:picChg>
        <pc:picChg chg="add del mod">
          <ac:chgData name="Rizky Fajar" userId="490a5c0ae4650a6d" providerId="LiveId" clId="{5666174E-1FDC-4381-AE72-96AAAE51F635}" dt="2025-02-18T07:33:09.600" v="24828" actId="478"/>
          <ac:picMkLst>
            <pc:docMk/>
            <pc:sldMk cId="704571891" sldId="4081"/>
            <ac:picMk id="102" creationId="{D2164B6A-FF51-2227-A57F-0CCA3CBBF747}"/>
          </ac:picMkLst>
        </pc:picChg>
        <pc:picChg chg="del">
          <ac:chgData name="Rizky Fajar" userId="490a5c0ae4650a6d" providerId="LiveId" clId="{5666174E-1FDC-4381-AE72-96AAAE51F635}" dt="2025-02-18T06:48:54.433" v="21871" actId="478"/>
          <ac:picMkLst>
            <pc:docMk/>
            <pc:sldMk cId="704571891" sldId="4081"/>
            <ac:picMk id="124" creationId="{ACA319E8-6908-5AD3-92DC-C4E5431D2698}"/>
          </ac:picMkLst>
        </pc:picChg>
        <pc:picChg chg="add del">
          <ac:chgData name="Rizky Fajar" userId="490a5c0ae4650a6d" providerId="LiveId" clId="{5666174E-1FDC-4381-AE72-96AAAE51F635}" dt="2025-02-18T07:26:34.124" v="24715" actId="478"/>
          <ac:picMkLst>
            <pc:docMk/>
            <pc:sldMk cId="704571891" sldId="4081"/>
            <ac:picMk id="148" creationId="{BE333616-6E06-3D30-68CB-1C2AD0CA7DEC}"/>
          </ac:picMkLst>
        </pc:picChg>
        <pc:picChg chg="add del">
          <ac:chgData name="Rizky Fajar" userId="490a5c0ae4650a6d" providerId="LiveId" clId="{5666174E-1FDC-4381-AE72-96AAAE51F635}" dt="2025-02-18T07:26:57.812" v="24717" actId="22"/>
          <ac:picMkLst>
            <pc:docMk/>
            <pc:sldMk cId="704571891" sldId="4081"/>
            <ac:picMk id="150" creationId="{F6D53D94-FB6C-5071-C5C8-A50C82896E12}"/>
          </ac:picMkLst>
        </pc:picChg>
        <pc:picChg chg="add mod">
          <ac:chgData name="Rizky Fajar" userId="490a5c0ae4650a6d" providerId="LiveId" clId="{5666174E-1FDC-4381-AE72-96AAAE51F635}" dt="2025-02-18T07:28:47.600" v="24750" actId="1036"/>
          <ac:picMkLst>
            <pc:docMk/>
            <pc:sldMk cId="704571891" sldId="4081"/>
            <ac:picMk id="152" creationId="{25E7CE34-169C-F69E-F30C-029B1C06C1D2}"/>
          </ac:picMkLst>
        </pc:picChg>
        <pc:picChg chg="add mod">
          <ac:chgData name="Rizky Fajar" userId="490a5c0ae4650a6d" providerId="LiveId" clId="{5666174E-1FDC-4381-AE72-96AAAE51F635}" dt="2025-02-18T07:28:39.819" v="24741" actId="1038"/>
          <ac:picMkLst>
            <pc:docMk/>
            <pc:sldMk cId="704571891" sldId="4081"/>
            <ac:picMk id="154" creationId="{C61B47DF-DF7A-B98B-89F5-24B2770E1A41}"/>
          </ac:picMkLst>
        </pc:picChg>
        <pc:picChg chg="add mod">
          <ac:chgData name="Rizky Fajar" userId="490a5c0ae4650a6d" providerId="LiveId" clId="{5666174E-1FDC-4381-AE72-96AAAE51F635}" dt="2025-02-18T07:30:18.694" v="24760" actId="1076"/>
          <ac:picMkLst>
            <pc:docMk/>
            <pc:sldMk cId="704571891" sldId="4081"/>
            <ac:picMk id="156" creationId="{BA1BF6BA-29C4-D2D5-6A96-81A32A8CD794}"/>
          </ac:picMkLst>
        </pc:picChg>
        <pc:cxnChg chg="add mod">
          <ac:chgData name="Rizky Fajar" userId="490a5c0ae4650a6d" providerId="LiveId" clId="{5666174E-1FDC-4381-AE72-96AAAE51F635}" dt="2025-02-18T07:18:54.586" v="24642" actId="1076"/>
          <ac:cxnSpMkLst>
            <pc:docMk/>
            <pc:sldMk cId="704571891" sldId="4081"/>
            <ac:cxnSpMk id="104" creationId="{DA9A5EA3-A1CC-51D9-961F-C43E638C01A5}"/>
          </ac:cxnSpMkLst>
        </pc:cxnChg>
        <pc:cxnChg chg="add mod">
          <ac:chgData name="Rizky Fajar" userId="490a5c0ae4650a6d" providerId="LiveId" clId="{5666174E-1FDC-4381-AE72-96AAAE51F635}" dt="2025-02-18T07:22:24.148" v="24689" actId="1076"/>
          <ac:cxnSpMkLst>
            <pc:docMk/>
            <pc:sldMk cId="704571891" sldId="4081"/>
            <ac:cxnSpMk id="106" creationId="{E9391D27-BC83-69C9-CDD0-E0EDA42D4578}"/>
          </ac:cxnSpMkLst>
        </pc:cxnChg>
        <pc:cxnChg chg="add mod">
          <ac:chgData name="Rizky Fajar" userId="490a5c0ae4650a6d" providerId="LiveId" clId="{5666174E-1FDC-4381-AE72-96AAAE51F635}" dt="2025-02-18T07:23:26.147" v="24712" actId="1035"/>
          <ac:cxnSpMkLst>
            <pc:docMk/>
            <pc:sldMk cId="704571891" sldId="4081"/>
            <ac:cxnSpMk id="111" creationId="{33FE6A20-A15D-4FFD-572A-CC93FDBEC0FC}"/>
          </ac:cxnSpMkLst>
        </pc:cxnChg>
        <pc:cxnChg chg="add mod">
          <ac:chgData name="Rizky Fajar" userId="490a5c0ae4650a6d" providerId="LiveId" clId="{5666174E-1FDC-4381-AE72-96AAAE51F635}" dt="2025-02-18T07:22:59.273" v="24702" actId="1076"/>
          <ac:cxnSpMkLst>
            <pc:docMk/>
            <pc:sldMk cId="704571891" sldId="4081"/>
            <ac:cxnSpMk id="114" creationId="{781861C5-70D3-3540-AB08-F74204701902}"/>
          </ac:cxnSpMkLst>
        </pc:cxnChg>
        <pc:cxnChg chg="add mod">
          <ac:chgData name="Rizky Fajar" userId="490a5c0ae4650a6d" providerId="LiveId" clId="{5666174E-1FDC-4381-AE72-96AAAE51F635}" dt="2025-02-18T07:22:24.148" v="24689" actId="1076"/>
          <ac:cxnSpMkLst>
            <pc:docMk/>
            <pc:sldMk cId="704571891" sldId="4081"/>
            <ac:cxnSpMk id="127" creationId="{568E70A6-8491-328E-2233-9673AD565B56}"/>
          </ac:cxnSpMkLst>
        </pc:cxnChg>
        <pc:cxnChg chg="add del mod topLvl">
          <ac:chgData name="Rizky Fajar" userId="490a5c0ae4650a6d" providerId="LiveId" clId="{5666174E-1FDC-4381-AE72-96AAAE51F635}" dt="2025-02-18T07:21:05.539" v="24668" actId="478"/>
          <ac:cxnSpMkLst>
            <pc:docMk/>
            <pc:sldMk cId="704571891" sldId="4081"/>
            <ac:cxnSpMk id="131" creationId="{15605AAF-88B5-6111-41EF-C5E0AB53EBE9}"/>
          </ac:cxnSpMkLst>
        </pc:cxnChg>
        <pc:cxnChg chg="add del mod">
          <ac:chgData name="Rizky Fajar" userId="490a5c0ae4650a6d" providerId="LiveId" clId="{5666174E-1FDC-4381-AE72-96AAAE51F635}" dt="2025-02-18T07:21:53.710" v="24676" actId="478"/>
          <ac:cxnSpMkLst>
            <pc:docMk/>
            <pc:sldMk cId="704571891" sldId="4081"/>
            <ac:cxnSpMk id="135" creationId="{E362DAE4-AE25-14C2-B9C4-A4E2A4E7978D}"/>
          </ac:cxnSpMkLst>
        </pc:cxnChg>
        <pc:cxnChg chg="add del mod">
          <ac:chgData name="Rizky Fajar" userId="490a5c0ae4650a6d" providerId="LiveId" clId="{5666174E-1FDC-4381-AE72-96AAAE51F635}" dt="2025-02-18T07:22:36.758" v="24692" actId="478"/>
          <ac:cxnSpMkLst>
            <pc:docMk/>
            <pc:sldMk cId="704571891" sldId="4081"/>
            <ac:cxnSpMk id="138" creationId="{FB534055-10AB-2D09-8004-543D2EB5CA6D}"/>
          </ac:cxnSpMkLst>
        </pc:cxnChg>
        <pc:cxnChg chg="add del mod">
          <ac:chgData name="Rizky Fajar" userId="490a5c0ae4650a6d" providerId="LiveId" clId="{5666174E-1FDC-4381-AE72-96AAAE51F635}" dt="2025-02-18T07:22:50.681" v="24701" actId="478"/>
          <ac:cxnSpMkLst>
            <pc:docMk/>
            <pc:sldMk cId="704571891" sldId="4081"/>
            <ac:cxnSpMk id="141" creationId="{27A927FA-CB19-38F4-7828-F14E26EB583E}"/>
          </ac:cxnSpMkLst>
        </pc:cxnChg>
        <pc:cxnChg chg="add mod">
          <ac:chgData name="Rizky Fajar" userId="490a5c0ae4650a6d" providerId="LiveId" clId="{5666174E-1FDC-4381-AE72-96AAAE51F635}" dt="2025-02-18T07:23:26.147" v="24712" actId="1035"/>
          <ac:cxnSpMkLst>
            <pc:docMk/>
            <pc:sldMk cId="704571891" sldId="4081"/>
            <ac:cxnSpMk id="142" creationId="{CC793322-4B61-BA07-3850-6DD6026C70FF}"/>
          </ac:cxnSpMkLst>
        </pc:cxnChg>
        <pc:cxnChg chg="add mod">
          <ac:chgData name="Rizky Fajar" userId="490a5c0ae4650a6d" providerId="LiveId" clId="{5666174E-1FDC-4381-AE72-96AAAE51F635}" dt="2025-02-18T07:30:11.538" v="24758" actId="1076"/>
          <ac:cxnSpMkLst>
            <pc:docMk/>
            <pc:sldMk cId="704571891" sldId="4081"/>
            <ac:cxnSpMk id="144" creationId="{6301CBB6-A24C-2D87-5FCC-B77C02467D86}"/>
          </ac:cxnSpMkLst>
        </pc:cxnChg>
      </pc:sldChg>
      <pc:sldChg chg="addSp delSp modSp add mod">
        <pc:chgData name="Rizky Fajar" userId="490a5c0ae4650a6d" providerId="LiveId" clId="{5666174E-1FDC-4381-AE72-96AAAE51F635}" dt="2025-02-18T13:10:35.054" v="28720" actId="478"/>
        <pc:sldMkLst>
          <pc:docMk/>
          <pc:sldMk cId="1728683986" sldId="4082"/>
        </pc:sldMkLst>
        <pc:spChg chg="del">
          <ac:chgData name="Rizky Fajar" userId="490a5c0ae4650a6d" providerId="LiveId" clId="{5666174E-1FDC-4381-AE72-96AAAE51F635}" dt="2025-02-18T10:12:35.462" v="25366" actId="478"/>
          <ac:spMkLst>
            <pc:docMk/>
            <pc:sldMk cId="1728683986" sldId="4082"/>
            <ac:spMk id="7" creationId="{0E5B8959-E5AD-16B1-A1B0-F112E3C6B898}"/>
          </ac:spMkLst>
        </pc:spChg>
        <pc:spChg chg="del">
          <ac:chgData name="Rizky Fajar" userId="490a5c0ae4650a6d" providerId="LiveId" clId="{5666174E-1FDC-4381-AE72-96AAAE51F635}" dt="2025-02-18T10:12:35.462" v="25366" actId="478"/>
          <ac:spMkLst>
            <pc:docMk/>
            <pc:sldMk cId="1728683986" sldId="4082"/>
            <ac:spMk id="10" creationId="{50F52C2F-031E-EDE5-340C-408462997315}"/>
          </ac:spMkLst>
        </pc:spChg>
        <pc:spChg chg="add mod">
          <ac:chgData name="Rizky Fajar" userId="490a5c0ae4650a6d" providerId="LiveId" clId="{5666174E-1FDC-4381-AE72-96AAAE51F635}" dt="2025-02-18T11:58:29.362" v="28593" actId="20577"/>
          <ac:spMkLst>
            <pc:docMk/>
            <pc:sldMk cId="1728683986" sldId="4082"/>
            <ac:spMk id="13" creationId="{81265977-2F31-9DA6-D2B7-85040CB02DA3}"/>
          </ac:spMkLst>
        </pc:spChg>
        <pc:spChg chg="del">
          <ac:chgData name="Rizky Fajar" userId="490a5c0ae4650a6d" providerId="LiveId" clId="{5666174E-1FDC-4381-AE72-96AAAE51F635}" dt="2025-02-18T10:12:35.462" v="25366" actId="478"/>
          <ac:spMkLst>
            <pc:docMk/>
            <pc:sldMk cId="1728683986" sldId="4082"/>
            <ac:spMk id="17" creationId="{AC764F23-4E31-0F14-2D64-CF943B7558CF}"/>
          </ac:spMkLst>
        </pc:spChg>
        <pc:spChg chg="add mod topLvl">
          <ac:chgData name="Rizky Fajar" userId="490a5c0ae4650a6d" providerId="LiveId" clId="{5666174E-1FDC-4381-AE72-96AAAE51F635}" dt="2025-02-18T10:40:47.351" v="26214" actId="207"/>
          <ac:spMkLst>
            <pc:docMk/>
            <pc:sldMk cId="1728683986" sldId="4082"/>
            <ac:spMk id="19" creationId="{9E02E5A2-B252-F2A5-11C2-71767C490832}"/>
          </ac:spMkLst>
        </pc:spChg>
        <pc:spChg chg="del">
          <ac:chgData name="Rizky Fajar" userId="490a5c0ae4650a6d" providerId="LiveId" clId="{5666174E-1FDC-4381-AE72-96AAAE51F635}" dt="2025-02-18T10:01:59.467" v="25312" actId="478"/>
          <ac:spMkLst>
            <pc:docMk/>
            <pc:sldMk cId="1728683986" sldId="4082"/>
            <ac:spMk id="24" creationId="{275281F3-3606-CB1E-A24D-A723D3504D44}"/>
          </ac:spMkLst>
        </pc:spChg>
        <pc:spChg chg="del">
          <ac:chgData name="Rizky Fajar" userId="490a5c0ae4650a6d" providerId="LiveId" clId="{5666174E-1FDC-4381-AE72-96AAAE51F635}" dt="2025-02-18T10:12:35.462" v="25366" actId="478"/>
          <ac:spMkLst>
            <pc:docMk/>
            <pc:sldMk cId="1728683986" sldId="4082"/>
            <ac:spMk id="26" creationId="{3BCA146C-F310-0D00-8822-DB51AA5C8BDC}"/>
          </ac:spMkLst>
        </pc:spChg>
        <pc:spChg chg="del">
          <ac:chgData name="Rizky Fajar" userId="490a5c0ae4650a6d" providerId="LiveId" clId="{5666174E-1FDC-4381-AE72-96AAAE51F635}" dt="2025-02-18T10:12:35.462" v="25366" actId="478"/>
          <ac:spMkLst>
            <pc:docMk/>
            <pc:sldMk cId="1728683986" sldId="4082"/>
            <ac:spMk id="27" creationId="{815653EB-AB37-5B95-AF59-CC9DFE37B793}"/>
          </ac:spMkLst>
        </pc:spChg>
        <pc:spChg chg="add del mod ord topLvl">
          <ac:chgData name="Rizky Fajar" userId="490a5c0ae4650a6d" providerId="LiveId" clId="{5666174E-1FDC-4381-AE72-96AAAE51F635}" dt="2025-02-18T10:33:20.836" v="25705" actId="164"/>
          <ac:spMkLst>
            <pc:docMk/>
            <pc:sldMk cId="1728683986" sldId="4082"/>
            <ac:spMk id="37" creationId="{61A1D845-7F4C-7F5C-0946-9C32EAF29452}"/>
          </ac:spMkLst>
        </pc:spChg>
        <pc:spChg chg="add mod">
          <ac:chgData name="Rizky Fajar" userId="490a5c0ae4650a6d" providerId="LiveId" clId="{5666174E-1FDC-4381-AE72-96AAAE51F635}" dt="2025-02-18T10:19:10.007" v="25421" actId="571"/>
          <ac:spMkLst>
            <pc:docMk/>
            <pc:sldMk cId="1728683986" sldId="4082"/>
            <ac:spMk id="38" creationId="{12753447-9F00-DD1F-1786-EB1C37C4127B}"/>
          </ac:spMkLst>
        </pc:spChg>
        <pc:spChg chg="mod">
          <ac:chgData name="Rizky Fajar" userId="490a5c0ae4650a6d" providerId="LiveId" clId="{5666174E-1FDC-4381-AE72-96AAAE51F635}" dt="2025-02-18T10:19:23.163" v="25430" actId="571"/>
          <ac:spMkLst>
            <pc:docMk/>
            <pc:sldMk cId="1728683986" sldId="4082"/>
            <ac:spMk id="41" creationId="{637CBE6D-307F-B80B-785C-FC236B55A8C4}"/>
          </ac:spMkLst>
        </pc:spChg>
        <pc:spChg chg="mod">
          <ac:chgData name="Rizky Fajar" userId="490a5c0ae4650a6d" providerId="LiveId" clId="{5666174E-1FDC-4381-AE72-96AAAE51F635}" dt="2025-02-18T10:19:23.163" v="25430" actId="571"/>
          <ac:spMkLst>
            <pc:docMk/>
            <pc:sldMk cId="1728683986" sldId="4082"/>
            <ac:spMk id="43" creationId="{0CBCF966-AD33-DA89-508A-4E2234741268}"/>
          </ac:spMkLst>
        </pc:spChg>
        <pc:spChg chg="add mod">
          <ac:chgData name="Rizky Fajar" userId="490a5c0ae4650a6d" providerId="LiveId" clId="{5666174E-1FDC-4381-AE72-96AAAE51F635}" dt="2025-02-18T10:58:55.612" v="27368" actId="20577"/>
          <ac:spMkLst>
            <pc:docMk/>
            <pc:sldMk cId="1728683986" sldId="4082"/>
            <ac:spMk id="44" creationId="{754D4421-FAA0-9F1E-1702-53338685E814}"/>
          </ac:spMkLst>
        </pc:spChg>
        <pc:spChg chg="del">
          <ac:chgData name="Rizky Fajar" userId="490a5c0ae4650a6d" providerId="LiveId" clId="{5666174E-1FDC-4381-AE72-96AAAE51F635}" dt="2025-02-18T10:12:35.462" v="25366" actId="478"/>
          <ac:spMkLst>
            <pc:docMk/>
            <pc:sldMk cId="1728683986" sldId="4082"/>
            <ac:spMk id="48" creationId="{4D0B4621-796C-3ED8-33CC-DCB6C499ABEE}"/>
          </ac:spMkLst>
        </pc:spChg>
        <pc:spChg chg="del">
          <ac:chgData name="Rizky Fajar" userId="490a5c0ae4650a6d" providerId="LiveId" clId="{5666174E-1FDC-4381-AE72-96AAAE51F635}" dt="2025-02-18T10:12:35.462" v="25366" actId="478"/>
          <ac:spMkLst>
            <pc:docMk/>
            <pc:sldMk cId="1728683986" sldId="4082"/>
            <ac:spMk id="50" creationId="{8A27A7A4-D267-44D1-305E-2ABF8BD8007B}"/>
          </ac:spMkLst>
        </pc:spChg>
        <pc:spChg chg="add mod">
          <ac:chgData name="Rizky Fajar" userId="490a5c0ae4650a6d" providerId="LiveId" clId="{5666174E-1FDC-4381-AE72-96AAAE51F635}" dt="2025-02-18T10:29:12.022" v="25618" actId="164"/>
          <ac:spMkLst>
            <pc:docMk/>
            <pc:sldMk cId="1728683986" sldId="4082"/>
            <ac:spMk id="56" creationId="{A5F48FE8-40AC-1757-4FA7-2745B5FBA58F}"/>
          </ac:spMkLst>
        </pc:spChg>
        <pc:spChg chg="add del mod">
          <ac:chgData name="Rizky Fajar" userId="490a5c0ae4650a6d" providerId="LiveId" clId="{5666174E-1FDC-4381-AE72-96AAAE51F635}" dt="2025-02-18T10:27:36.288" v="25550" actId="478"/>
          <ac:spMkLst>
            <pc:docMk/>
            <pc:sldMk cId="1728683986" sldId="4082"/>
            <ac:spMk id="58" creationId="{03A647AC-C180-0324-505E-926AE8F74AD0}"/>
          </ac:spMkLst>
        </pc:spChg>
        <pc:spChg chg="add del mod">
          <ac:chgData name="Rizky Fajar" userId="490a5c0ae4650a6d" providerId="LiveId" clId="{5666174E-1FDC-4381-AE72-96AAAE51F635}" dt="2025-02-18T10:27:45.553" v="25552" actId="478"/>
          <ac:spMkLst>
            <pc:docMk/>
            <pc:sldMk cId="1728683986" sldId="4082"/>
            <ac:spMk id="60" creationId="{77355A4B-838C-9FBB-EF17-0F4ACADE74E1}"/>
          </ac:spMkLst>
        </pc:spChg>
        <pc:spChg chg="add del mod">
          <ac:chgData name="Rizky Fajar" userId="490a5c0ae4650a6d" providerId="LiveId" clId="{5666174E-1FDC-4381-AE72-96AAAE51F635}" dt="2025-02-18T10:27:50.428" v="25554" actId="478"/>
          <ac:spMkLst>
            <pc:docMk/>
            <pc:sldMk cId="1728683986" sldId="4082"/>
            <ac:spMk id="62" creationId="{53DA3F8A-1DE7-F8FD-BCF8-20388AFEBEB3}"/>
          </ac:spMkLst>
        </pc:spChg>
        <pc:spChg chg="add mod">
          <ac:chgData name="Rizky Fajar" userId="490a5c0ae4650a6d" providerId="LiveId" clId="{5666174E-1FDC-4381-AE72-96AAAE51F635}" dt="2025-02-18T10:29:39.345" v="25624" actId="164"/>
          <ac:spMkLst>
            <pc:docMk/>
            <pc:sldMk cId="1728683986" sldId="4082"/>
            <ac:spMk id="63" creationId="{3593AA87-4E1B-0735-8499-DEFA5C22F8F4}"/>
          </ac:spMkLst>
        </pc:spChg>
        <pc:spChg chg="add mod">
          <ac:chgData name="Rizky Fajar" userId="490a5c0ae4650a6d" providerId="LiveId" clId="{5666174E-1FDC-4381-AE72-96AAAE51F635}" dt="2025-02-18T10:29:34.158" v="25621" actId="164"/>
          <ac:spMkLst>
            <pc:docMk/>
            <pc:sldMk cId="1728683986" sldId="4082"/>
            <ac:spMk id="64" creationId="{11493085-ACF0-8483-2685-9EE9FC5D4DF3}"/>
          </ac:spMkLst>
        </pc:spChg>
        <pc:spChg chg="add mod">
          <ac:chgData name="Rizky Fajar" userId="490a5c0ae4650a6d" providerId="LiveId" clId="{5666174E-1FDC-4381-AE72-96AAAE51F635}" dt="2025-02-18T10:29:30.611" v="25620" actId="164"/>
          <ac:spMkLst>
            <pc:docMk/>
            <pc:sldMk cId="1728683986" sldId="4082"/>
            <ac:spMk id="66" creationId="{8531570D-04CA-7A4B-BD80-C541CA23795B}"/>
          </ac:spMkLst>
        </pc:spChg>
        <pc:spChg chg="add del mod">
          <ac:chgData name="Rizky Fajar" userId="490a5c0ae4650a6d" providerId="LiveId" clId="{5666174E-1FDC-4381-AE72-96AAAE51F635}" dt="2025-02-18T10:33:00.258" v="25695" actId="478"/>
          <ac:spMkLst>
            <pc:docMk/>
            <pc:sldMk cId="1728683986" sldId="4082"/>
            <ac:spMk id="76" creationId="{D18430DA-EC0B-77DF-8F06-9ED8B8CC3777}"/>
          </ac:spMkLst>
        </pc:spChg>
        <pc:spChg chg="add mod">
          <ac:chgData name="Rizky Fajar" userId="490a5c0ae4650a6d" providerId="LiveId" clId="{5666174E-1FDC-4381-AE72-96AAAE51F635}" dt="2025-02-18T10:30:37.236" v="25633" actId="571"/>
          <ac:spMkLst>
            <pc:docMk/>
            <pc:sldMk cId="1728683986" sldId="4082"/>
            <ac:spMk id="80" creationId="{9A39CDEB-E850-6847-167C-ED9E74BF2B1B}"/>
          </ac:spMkLst>
        </pc:spChg>
        <pc:spChg chg="mod">
          <ac:chgData name="Rizky Fajar" userId="490a5c0ae4650a6d" providerId="LiveId" clId="{5666174E-1FDC-4381-AE72-96AAAE51F635}" dt="2025-02-18T10:30:37.236" v="25633" actId="571"/>
          <ac:spMkLst>
            <pc:docMk/>
            <pc:sldMk cId="1728683986" sldId="4082"/>
            <ac:spMk id="90" creationId="{AA91AD27-0018-71C0-95A6-0B4FCB3B58CC}"/>
          </ac:spMkLst>
        </pc:spChg>
        <pc:spChg chg="add del mod">
          <ac:chgData name="Rizky Fajar" userId="490a5c0ae4650a6d" providerId="LiveId" clId="{5666174E-1FDC-4381-AE72-96AAAE51F635}" dt="2025-02-18T10:30:50.079" v="25640" actId="478"/>
          <ac:spMkLst>
            <pc:docMk/>
            <pc:sldMk cId="1728683986" sldId="4082"/>
            <ac:spMk id="91" creationId="{8A3A0559-A1EE-8C8C-50A1-D6F4F7B71098}"/>
          </ac:spMkLst>
        </pc:spChg>
        <pc:spChg chg="add del mod">
          <ac:chgData name="Rizky Fajar" userId="490a5c0ae4650a6d" providerId="LiveId" clId="{5666174E-1FDC-4381-AE72-96AAAE51F635}" dt="2025-02-18T10:33:02.852" v="25698" actId="478"/>
          <ac:spMkLst>
            <pc:docMk/>
            <pc:sldMk cId="1728683986" sldId="4082"/>
            <ac:spMk id="92" creationId="{995A18CE-E397-FA46-02DC-17087A8F118A}"/>
          </ac:spMkLst>
        </pc:spChg>
        <pc:spChg chg="add del mod">
          <ac:chgData name="Rizky Fajar" userId="490a5c0ae4650a6d" providerId="LiveId" clId="{5666174E-1FDC-4381-AE72-96AAAE51F635}" dt="2025-02-18T10:41:43.116" v="26225" actId="478"/>
          <ac:spMkLst>
            <pc:docMk/>
            <pc:sldMk cId="1728683986" sldId="4082"/>
            <ac:spMk id="96" creationId="{E3EE10EA-703E-7B81-AF7F-42E30CC6FC25}"/>
          </ac:spMkLst>
        </pc:spChg>
        <pc:spChg chg="add mod">
          <ac:chgData name="Rizky Fajar" userId="490a5c0ae4650a6d" providerId="LiveId" clId="{5666174E-1FDC-4381-AE72-96AAAE51F635}" dt="2025-02-18T10:33:15.680" v="25702" actId="571"/>
          <ac:spMkLst>
            <pc:docMk/>
            <pc:sldMk cId="1728683986" sldId="4082"/>
            <ac:spMk id="97" creationId="{F233DBB6-F863-C3CF-8FBA-375922DEDA54}"/>
          </ac:spMkLst>
        </pc:spChg>
        <pc:spChg chg="add mod">
          <ac:chgData name="Rizky Fajar" userId="490a5c0ae4650a6d" providerId="LiveId" clId="{5666174E-1FDC-4381-AE72-96AAAE51F635}" dt="2025-02-18T10:33:15.680" v="25702" actId="571"/>
          <ac:spMkLst>
            <pc:docMk/>
            <pc:sldMk cId="1728683986" sldId="4082"/>
            <ac:spMk id="109" creationId="{D08E2B0D-E53C-CFE0-0C2F-9228621345D2}"/>
          </ac:spMkLst>
        </pc:spChg>
        <pc:spChg chg="mod">
          <ac:chgData name="Rizky Fajar" userId="490a5c0ae4650a6d" providerId="LiveId" clId="{5666174E-1FDC-4381-AE72-96AAAE51F635}" dt="2025-02-18T10:33:15.680" v="25702" actId="571"/>
          <ac:spMkLst>
            <pc:docMk/>
            <pc:sldMk cId="1728683986" sldId="4082"/>
            <ac:spMk id="116" creationId="{695B3FEC-7214-8FDF-8654-7B6BC6F7AE29}"/>
          </ac:spMkLst>
        </pc:spChg>
        <pc:spChg chg="del">
          <ac:chgData name="Rizky Fajar" userId="490a5c0ae4650a6d" providerId="LiveId" clId="{5666174E-1FDC-4381-AE72-96AAAE51F635}" dt="2025-02-18T10:12:35.462" v="25366" actId="478"/>
          <ac:spMkLst>
            <pc:docMk/>
            <pc:sldMk cId="1728683986" sldId="4082"/>
            <ac:spMk id="117" creationId="{FF807773-EE72-968F-4232-7DB3ACA1297C}"/>
          </ac:spMkLst>
        </pc:spChg>
        <pc:spChg chg="del">
          <ac:chgData name="Rizky Fajar" userId="490a5c0ae4650a6d" providerId="LiveId" clId="{5666174E-1FDC-4381-AE72-96AAAE51F635}" dt="2025-02-18T10:12:35.462" v="25366" actId="478"/>
          <ac:spMkLst>
            <pc:docMk/>
            <pc:sldMk cId="1728683986" sldId="4082"/>
            <ac:spMk id="118" creationId="{E6DA9A67-41B8-2646-BF49-CB9350292444}"/>
          </ac:spMkLst>
        </pc:spChg>
        <pc:spChg chg="del">
          <ac:chgData name="Rizky Fajar" userId="490a5c0ae4650a6d" providerId="LiveId" clId="{5666174E-1FDC-4381-AE72-96AAAE51F635}" dt="2025-02-18T10:12:35.462" v="25366" actId="478"/>
          <ac:spMkLst>
            <pc:docMk/>
            <pc:sldMk cId="1728683986" sldId="4082"/>
            <ac:spMk id="119" creationId="{D838D7DA-1795-97BD-7E26-EA114C98E127}"/>
          </ac:spMkLst>
        </pc:spChg>
        <pc:spChg chg="add del">
          <ac:chgData name="Rizky Fajar" userId="490a5c0ae4650a6d" providerId="LiveId" clId="{5666174E-1FDC-4381-AE72-96AAAE51F635}" dt="2025-02-18T10:41:43.116" v="26225" actId="478"/>
          <ac:spMkLst>
            <pc:docMk/>
            <pc:sldMk cId="1728683986" sldId="4082"/>
            <ac:spMk id="122" creationId="{EBF87F39-51D2-5DD0-C82B-D89A0F316371}"/>
          </ac:spMkLst>
        </pc:spChg>
        <pc:spChg chg="add del">
          <ac:chgData name="Rizky Fajar" userId="490a5c0ae4650a6d" providerId="LiveId" clId="{5666174E-1FDC-4381-AE72-96AAAE51F635}" dt="2025-02-18T10:41:43.116" v="26225" actId="478"/>
          <ac:spMkLst>
            <pc:docMk/>
            <pc:sldMk cId="1728683986" sldId="4082"/>
            <ac:spMk id="123" creationId="{B4CEDC25-5D42-305F-0076-7AB4F3534FB1}"/>
          </ac:spMkLst>
        </pc:spChg>
        <pc:spChg chg="mod">
          <ac:chgData name="Rizky Fajar" userId="490a5c0ae4650a6d" providerId="LiveId" clId="{5666174E-1FDC-4381-AE72-96AAAE51F635}" dt="2025-02-18T10:33:15.680" v="25702" actId="571"/>
          <ac:spMkLst>
            <pc:docMk/>
            <pc:sldMk cId="1728683986" sldId="4082"/>
            <ac:spMk id="126" creationId="{B24A0658-9B40-90BD-AC4D-F6879EE5FEFE}"/>
          </ac:spMkLst>
        </pc:spChg>
        <pc:spChg chg="mod">
          <ac:chgData name="Rizky Fajar" userId="490a5c0ae4650a6d" providerId="LiveId" clId="{5666174E-1FDC-4381-AE72-96AAAE51F635}" dt="2025-02-18T10:33:15.680" v="25702" actId="571"/>
          <ac:spMkLst>
            <pc:docMk/>
            <pc:sldMk cId="1728683986" sldId="4082"/>
            <ac:spMk id="130" creationId="{2AAC73DF-17A7-0D46-7DAC-283E5192D4E9}"/>
          </ac:spMkLst>
        </pc:spChg>
        <pc:spChg chg="mod">
          <ac:chgData name="Rizky Fajar" userId="490a5c0ae4650a6d" providerId="LiveId" clId="{5666174E-1FDC-4381-AE72-96AAAE51F635}" dt="2025-02-18T10:33:15.680" v="25702" actId="571"/>
          <ac:spMkLst>
            <pc:docMk/>
            <pc:sldMk cId="1728683986" sldId="4082"/>
            <ac:spMk id="133" creationId="{9628896D-0C18-3969-E5F4-19F10E649755}"/>
          </ac:spMkLst>
        </pc:spChg>
        <pc:spChg chg="add mod">
          <ac:chgData name="Rizky Fajar" userId="490a5c0ae4650a6d" providerId="LiveId" clId="{5666174E-1FDC-4381-AE72-96AAAE51F635}" dt="2025-02-18T10:33:15.399" v="25701" actId="571"/>
          <ac:spMkLst>
            <pc:docMk/>
            <pc:sldMk cId="1728683986" sldId="4082"/>
            <ac:spMk id="134" creationId="{33731BCA-FF7D-2810-6EED-86694210EE37}"/>
          </ac:spMkLst>
        </pc:spChg>
        <pc:spChg chg="add mod">
          <ac:chgData name="Rizky Fajar" userId="490a5c0ae4650a6d" providerId="LiveId" clId="{5666174E-1FDC-4381-AE72-96AAAE51F635}" dt="2025-02-18T10:33:15.399" v="25701" actId="571"/>
          <ac:spMkLst>
            <pc:docMk/>
            <pc:sldMk cId="1728683986" sldId="4082"/>
            <ac:spMk id="135" creationId="{15FBD5C2-9672-88F8-73EA-318FDEB45F7E}"/>
          </ac:spMkLst>
        </pc:spChg>
        <pc:spChg chg="mod">
          <ac:chgData name="Rizky Fajar" userId="490a5c0ae4650a6d" providerId="LiveId" clId="{5666174E-1FDC-4381-AE72-96AAAE51F635}" dt="2025-02-18T10:33:15.399" v="25701" actId="571"/>
          <ac:spMkLst>
            <pc:docMk/>
            <pc:sldMk cId="1728683986" sldId="4082"/>
            <ac:spMk id="138" creationId="{370C5B43-6A22-38C1-CC3C-46F6521A6F20}"/>
          </ac:spMkLst>
        </pc:spChg>
        <pc:spChg chg="mod">
          <ac:chgData name="Rizky Fajar" userId="490a5c0ae4650a6d" providerId="LiveId" clId="{5666174E-1FDC-4381-AE72-96AAAE51F635}" dt="2025-02-18T10:33:15.399" v="25701" actId="571"/>
          <ac:spMkLst>
            <pc:docMk/>
            <pc:sldMk cId="1728683986" sldId="4082"/>
            <ac:spMk id="141" creationId="{73AB881F-EDF7-A1FE-F8AC-D852C21C080C}"/>
          </ac:spMkLst>
        </pc:spChg>
        <pc:spChg chg="mod">
          <ac:chgData name="Rizky Fajar" userId="490a5c0ae4650a6d" providerId="LiveId" clId="{5666174E-1FDC-4381-AE72-96AAAE51F635}" dt="2025-02-18T10:33:15.399" v="25701" actId="571"/>
          <ac:spMkLst>
            <pc:docMk/>
            <pc:sldMk cId="1728683986" sldId="4082"/>
            <ac:spMk id="144" creationId="{E21C7DE0-C3B4-A879-7D00-038293DBFFBE}"/>
          </ac:spMkLst>
        </pc:spChg>
        <pc:spChg chg="mod">
          <ac:chgData name="Rizky Fajar" userId="490a5c0ae4650a6d" providerId="LiveId" clId="{5666174E-1FDC-4381-AE72-96AAAE51F635}" dt="2025-02-18T10:33:15.399" v="25701" actId="571"/>
          <ac:spMkLst>
            <pc:docMk/>
            <pc:sldMk cId="1728683986" sldId="4082"/>
            <ac:spMk id="147" creationId="{5CAF4AC9-D2C2-284D-50C1-58CDDFB53D48}"/>
          </ac:spMkLst>
        </pc:spChg>
        <pc:spChg chg="mod">
          <ac:chgData name="Rizky Fajar" userId="490a5c0ae4650a6d" providerId="LiveId" clId="{5666174E-1FDC-4381-AE72-96AAAE51F635}" dt="2025-02-18T10:33:22.445" v="25706" actId="571"/>
          <ac:spMkLst>
            <pc:docMk/>
            <pc:sldMk cId="1728683986" sldId="4082"/>
            <ac:spMk id="150" creationId="{056EC8BC-E6C4-26E8-9E51-72D99AC718A1}"/>
          </ac:spMkLst>
        </pc:spChg>
        <pc:spChg chg="mod">
          <ac:chgData name="Rizky Fajar" userId="490a5c0ae4650a6d" providerId="LiveId" clId="{5666174E-1FDC-4381-AE72-96AAAE51F635}" dt="2025-02-18T10:33:22.445" v="25706" actId="571"/>
          <ac:spMkLst>
            <pc:docMk/>
            <pc:sldMk cId="1728683986" sldId="4082"/>
            <ac:spMk id="151" creationId="{0A1D4D3F-3AB8-8068-FD6C-42689D4A23B3}"/>
          </ac:spMkLst>
        </pc:spChg>
        <pc:spChg chg="mod">
          <ac:chgData name="Rizky Fajar" userId="490a5c0ae4650a6d" providerId="LiveId" clId="{5666174E-1FDC-4381-AE72-96AAAE51F635}" dt="2025-02-18T10:35:19.475" v="25849" actId="404"/>
          <ac:spMkLst>
            <pc:docMk/>
            <pc:sldMk cId="1728683986" sldId="4082"/>
            <ac:spMk id="157" creationId="{60185F84-0A8B-99D7-1DDD-16A4F8BDF72A}"/>
          </ac:spMkLst>
        </pc:spChg>
        <pc:spChg chg="mod">
          <ac:chgData name="Rizky Fajar" userId="490a5c0ae4650a6d" providerId="LiveId" clId="{5666174E-1FDC-4381-AE72-96AAAE51F635}" dt="2025-02-18T10:35:17.569" v="25848" actId="404"/>
          <ac:spMkLst>
            <pc:docMk/>
            <pc:sldMk cId="1728683986" sldId="4082"/>
            <ac:spMk id="159" creationId="{021CA9F5-CF72-2F8F-F27C-9F91E2C11B8B}"/>
          </ac:spMkLst>
        </pc:spChg>
        <pc:spChg chg="mod">
          <ac:chgData name="Rizky Fajar" userId="490a5c0ae4650a6d" providerId="LiveId" clId="{5666174E-1FDC-4381-AE72-96AAAE51F635}" dt="2025-02-18T10:35:14.397" v="25846" actId="404"/>
          <ac:spMkLst>
            <pc:docMk/>
            <pc:sldMk cId="1728683986" sldId="4082"/>
            <ac:spMk id="161" creationId="{0B593312-06B1-7F07-72C7-9F662D1EA8E4}"/>
          </ac:spMkLst>
        </pc:spChg>
        <pc:spChg chg="mod">
          <ac:chgData name="Rizky Fajar" userId="490a5c0ae4650a6d" providerId="LiveId" clId="{5666174E-1FDC-4381-AE72-96AAAE51F635}" dt="2025-02-18T10:35:10.428" v="25845" actId="1076"/>
          <ac:spMkLst>
            <pc:docMk/>
            <pc:sldMk cId="1728683986" sldId="4082"/>
            <ac:spMk id="163" creationId="{3F88ABAC-65D5-FFB0-C933-D047097BBCD1}"/>
          </ac:spMkLst>
        </pc:spChg>
        <pc:spChg chg="add mod">
          <ac:chgData name="Rizky Fajar" userId="490a5c0ae4650a6d" providerId="LiveId" clId="{5666174E-1FDC-4381-AE72-96AAAE51F635}" dt="2025-02-18T10:52:40.164" v="26712" actId="404"/>
          <ac:spMkLst>
            <pc:docMk/>
            <pc:sldMk cId="1728683986" sldId="4082"/>
            <ac:spMk id="164" creationId="{14C2A7AF-2EB8-DA25-7613-020858DE08CF}"/>
          </ac:spMkLst>
        </pc:spChg>
        <pc:spChg chg="mod">
          <ac:chgData name="Rizky Fajar" userId="490a5c0ae4650a6d" providerId="LiveId" clId="{5666174E-1FDC-4381-AE72-96AAAE51F635}" dt="2025-02-18T10:35:30.303" v="25862" actId="571"/>
          <ac:spMkLst>
            <pc:docMk/>
            <pc:sldMk cId="1728683986" sldId="4082"/>
            <ac:spMk id="166" creationId="{9E37DD49-012A-9F12-6764-7B9B82F72C2D}"/>
          </ac:spMkLst>
        </pc:spChg>
        <pc:spChg chg="mod">
          <ac:chgData name="Rizky Fajar" userId="490a5c0ae4650a6d" providerId="LiveId" clId="{5666174E-1FDC-4381-AE72-96AAAE51F635}" dt="2025-02-18T10:35:30.303" v="25862" actId="571"/>
          <ac:spMkLst>
            <pc:docMk/>
            <pc:sldMk cId="1728683986" sldId="4082"/>
            <ac:spMk id="167" creationId="{0DC2D12F-E175-1947-8AB7-99EB310E47AC}"/>
          </ac:spMkLst>
        </pc:spChg>
        <pc:spChg chg="mod">
          <ac:chgData name="Rizky Fajar" userId="490a5c0ae4650a6d" providerId="LiveId" clId="{5666174E-1FDC-4381-AE72-96AAAE51F635}" dt="2025-02-18T10:35:55.538" v="25922" actId="20577"/>
          <ac:spMkLst>
            <pc:docMk/>
            <pc:sldMk cId="1728683986" sldId="4082"/>
            <ac:spMk id="173" creationId="{1A756BF2-9541-7B0C-FE87-D40C7DA7F5AB}"/>
          </ac:spMkLst>
        </pc:spChg>
        <pc:spChg chg="mod">
          <ac:chgData name="Rizky Fajar" userId="490a5c0ae4650a6d" providerId="LiveId" clId="{5666174E-1FDC-4381-AE72-96AAAE51F635}" dt="2025-02-18T10:35:50.397" v="25914" actId="20577"/>
          <ac:spMkLst>
            <pc:docMk/>
            <pc:sldMk cId="1728683986" sldId="4082"/>
            <ac:spMk id="175" creationId="{B2DAB6FB-6346-58F4-8C2C-9EE5A56ED86F}"/>
          </ac:spMkLst>
        </pc:spChg>
        <pc:spChg chg="mod">
          <ac:chgData name="Rizky Fajar" userId="490a5c0ae4650a6d" providerId="LiveId" clId="{5666174E-1FDC-4381-AE72-96AAAE51F635}" dt="2025-02-18T10:35:47.428" v="25908" actId="20577"/>
          <ac:spMkLst>
            <pc:docMk/>
            <pc:sldMk cId="1728683986" sldId="4082"/>
            <ac:spMk id="177" creationId="{A3EB056E-F0F3-25E7-030A-8E76ACFC3A59}"/>
          </ac:spMkLst>
        </pc:spChg>
        <pc:spChg chg="mod">
          <ac:chgData name="Rizky Fajar" userId="490a5c0ae4650a6d" providerId="LiveId" clId="{5666174E-1FDC-4381-AE72-96AAAE51F635}" dt="2025-02-18T10:35:44.272" v="25902" actId="20577"/>
          <ac:spMkLst>
            <pc:docMk/>
            <pc:sldMk cId="1728683986" sldId="4082"/>
            <ac:spMk id="179" creationId="{8DB70215-B8B5-E341-F36A-AAFD348676B6}"/>
          </ac:spMkLst>
        </pc:spChg>
        <pc:spChg chg="add mod">
          <ac:chgData name="Rizky Fajar" userId="490a5c0ae4650a6d" providerId="LiveId" clId="{5666174E-1FDC-4381-AE72-96AAAE51F635}" dt="2025-02-18T10:52:12.898" v="26675" actId="404"/>
          <ac:spMkLst>
            <pc:docMk/>
            <pc:sldMk cId="1728683986" sldId="4082"/>
            <ac:spMk id="180" creationId="{CD79A36F-8F95-E081-74AB-9071D60C85C2}"/>
          </ac:spMkLst>
        </pc:spChg>
        <pc:spChg chg="mod topLvl">
          <ac:chgData name="Rizky Fajar" userId="490a5c0ae4650a6d" providerId="LiveId" clId="{5666174E-1FDC-4381-AE72-96AAAE51F635}" dt="2025-02-18T10:46:47.257" v="26483" actId="164"/>
          <ac:spMkLst>
            <pc:docMk/>
            <pc:sldMk cId="1728683986" sldId="4082"/>
            <ac:spMk id="182" creationId="{6E9F5C1A-6EE9-DD8E-03CA-EFEEA4166B79}"/>
          </ac:spMkLst>
        </pc:spChg>
        <pc:spChg chg="mod topLvl">
          <ac:chgData name="Rizky Fajar" userId="490a5c0ae4650a6d" providerId="LiveId" clId="{5666174E-1FDC-4381-AE72-96AAAE51F635}" dt="2025-02-18T10:46:47.257" v="26483" actId="164"/>
          <ac:spMkLst>
            <pc:docMk/>
            <pc:sldMk cId="1728683986" sldId="4082"/>
            <ac:spMk id="183" creationId="{60825D14-0391-E51F-FD88-2E4CCE570F25}"/>
          </ac:spMkLst>
        </pc:spChg>
        <pc:spChg chg="mod">
          <ac:chgData name="Rizky Fajar" userId="490a5c0ae4650a6d" providerId="LiveId" clId="{5666174E-1FDC-4381-AE72-96AAAE51F635}" dt="2025-02-18T10:37:57.351" v="26007" actId="165"/>
          <ac:spMkLst>
            <pc:docMk/>
            <pc:sldMk cId="1728683986" sldId="4082"/>
            <ac:spMk id="189" creationId="{881CFA9E-4F3C-1348-57ED-B9D4D6D2C170}"/>
          </ac:spMkLst>
        </pc:spChg>
        <pc:spChg chg="mod">
          <ac:chgData name="Rizky Fajar" userId="490a5c0ae4650a6d" providerId="LiveId" clId="{5666174E-1FDC-4381-AE72-96AAAE51F635}" dt="2025-02-18T11:16:48.755" v="27737" actId="1076"/>
          <ac:spMkLst>
            <pc:docMk/>
            <pc:sldMk cId="1728683986" sldId="4082"/>
            <ac:spMk id="191" creationId="{CAC6F4A8-76DF-665B-1CB5-5F17B3FA8CD6}"/>
          </ac:spMkLst>
        </pc:spChg>
        <pc:spChg chg="mod">
          <ac:chgData name="Rizky Fajar" userId="490a5c0ae4650a6d" providerId="LiveId" clId="{5666174E-1FDC-4381-AE72-96AAAE51F635}" dt="2025-02-18T10:37:57.351" v="26007" actId="165"/>
          <ac:spMkLst>
            <pc:docMk/>
            <pc:sldMk cId="1728683986" sldId="4082"/>
            <ac:spMk id="193" creationId="{853E9799-DCD1-12F6-7B26-DC380F764062}"/>
          </ac:spMkLst>
        </pc:spChg>
        <pc:spChg chg="del mod">
          <ac:chgData name="Rizky Fajar" userId="490a5c0ae4650a6d" providerId="LiveId" clId="{5666174E-1FDC-4381-AE72-96AAAE51F635}" dt="2025-02-18T10:37:34.492" v="25977" actId="478"/>
          <ac:spMkLst>
            <pc:docMk/>
            <pc:sldMk cId="1728683986" sldId="4082"/>
            <ac:spMk id="195" creationId="{092C3810-3348-E114-C050-9CED613A8319}"/>
          </ac:spMkLst>
        </pc:spChg>
        <pc:spChg chg="add mod">
          <ac:chgData name="Rizky Fajar" userId="490a5c0ae4650a6d" providerId="LiveId" clId="{5666174E-1FDC-4381-AE72-96AAAE51F635}" dt="2025-02-18T10:52:36.570" v="26711" actId="20577"/>
          <ac:spMkLst>
            <pc:docMk/>
            <pc:sldMk cId="1728683986" sldId="4082"/>
            <ac:spMk id="196" creationId="{105774F8-0830-E18D-A4CD-DDAF7671EFD8}"/>
          </ac:spMkLst>
        </pc:spChg>
        <pc:spChg chg="mod">
          <ac:chgData name="Rizky Fajar" userId="490a5c0ae4650a6d" providerId="LiveId" clId="{5666174E-1FDC-4381-AE72-96AAAE51F635}" dt="2025-02-18T10:36:42.715" v="25964" actId="571"/>
          <ac:spMkLst>
            <pc:docMk/>
            <pc:sldMk cId="1728683986" sldId="4082"/>
            <ac:spMk id="198" creationId="{CD396F2E-6FEF-34EF-A0B3-F7B9D368754A}"/>
          </ac:spMkLst>
        </pc:spChg>
        <pc:spChg chg="mod">
          <ac:chgData name="Rizky Fajar" userId="490a5c0ae4650a6d" providerId="LiveId" clId="{5666174E-1FDC-4381-AE72-96AAAE51F635}" dt="2025-02-18T10:36:42.715" v="25964" actId="571"/>
          <ac:spMkLst>
            <pc:docMk/>
            <pc:sldMk cId="1728683986" sldId="4082"/>
            <ac:spMk id="199" creationId="{CD16B40E-EDB2-3C5D-E2B6-806615A40D81}"/>
          </ac:spMkLst>
        </pc:spChg>
        <pc:spChg chg="del mod">
          <ac:chgData name="Rizky Fajar" userId="490a5c0ae4650a6d" providerId="LiveId" clId="{5666174E-1FDC-4381-AE72-96AAAE51F635}" dt="2025-02-18T11:23:55.494" v="27926" actId="478"/>
          <ac:spMkLst>
            <pc:docMk/>
            <pc:sldMk cId="1728683986" sldId="4082"/>
            <ac:spMk id="205" creationId="{A9249FD3-F8BF-DE39-0E98-1A435F100327}"/>
          </ac:spMkLst>
        </pc:spChg>
        <pc:spChg chg="del mod">
          <ac:chgData name="Rizky Fajar" userId="490a5c0ae4650a6d" providerId="LiveId" clId="{5666174E-1FDC-4381-AE72-96AAAE51F635}" dt="2025-02-18T11:23:53.195" v="27925" actId="478"/>
          <ac:spMkLst>
            <pc:docMk/>
            <pc:sldMk cId="1728683986" sldId="4082"/>
            <ac:spMk id="207" creationId="{BF069955-4E25-4509-AF36-548E6D74B604}"/>
          </ac:spMkLst>
        </pc:spChg>
        <pc:spChg chg="mod">
          <ac:chgData name="Rizky Fajar" userId="490a5c0ae4650a6d" providerId="LiveId" clId="{5666174E-1FDC-4381-AE72-96AAAE51F635}" dt="2025-02-18T11:23:59.539" v="27927" actId="1076"/>
          <ac:spMkLst>
            <pc:docMk/>
            <pc:sldMk cId="1728683986" sldId="4082"/>
            <ac:spMk id="209" creationId="{559C7614-3E68-AAB7-E9A6-BFA34FF3B075}"/>
          </ac:spMkLst>
        </pc:spChg>
        <pc:spChg chg="mod">
          <ac:chgData name="Rizky Fajar" userId="490a5c0ae4650a6d" providerId="LiveId" clId="{5666174E-1FDC-4381-AE72-96AAAE51F635}" dt="2025-02-18T11:24:03.461" v="27928" actId="1076"/>
          <ac:spMkLst>
            <pc:docMk/>
            <pc:sldMk cId="1728683986" sldId="4082"/>
            <ac:spMk id="211" creationId="{AE01F4E3-E2AC-9316-9D75-1050FE24FCF5}"/>
          </ac:spMkLst>
        </pc:spChg>
        <pc:spChg chg="add mod">
          <ac:chgData name="Rizky Fajar" userId="490a5c0ae4650a6d" providerId="LiveId" clId="{5666174E-1FDC-4381-AE72-96AAAE51F635}" dt="2025-02-18T10:52:33.414" v="26709" actId="20577"/>
          <ac:spMkLst>
            <pc:docMk/>
            <pc:sldMk cId="1728683986" sldId="4082"/>
            <ac:spMk id="212" creationId="{C963449D-49F8-061C-7C09-186B63859812}"/>
          </ac:spMkLst>
        </pc:spChg>
        <pc:spChg chg="add mod ord">
          <ac:chgData name="Rizky Fajar" userId="490a5c0ae4650a6d" providerId="LiveId" clId="{5666174E-1FDC-4381-AE72-96AAAE51F635}" dt="2025-02-18T11:30:12.085" v="28143" actId="1076"/>
          <ac:spMkLst>
            <pc:docMk/>
            <pc:sldMk cId="1728683986" sldId="4082"/>
            <ac:spMk id="214" creationId="{4C34E87C-E343-FD7A-3AFB-839BEC4B9CC4}"/>
          </ac:spMkLst>
        </pc:spChg>
        <pc:spChg chg="add del mod">
          <ac:chgData name="Rizky Fajar" userId="490a5c0ae4650a6d" providerId="LiveId" clId="{5666174E-1FDC-4381-AE72-96AAAE51F635}" dt="2025-02-18T10:42:06.772" v="26261" actId="478"/>
          <ac:spMkLst>
            <pc:docMk/>
            <pc:sldMk cId="1728683986" sldId="4082"/>
            <ac:spMk id="215" creationId="{E817B290-09D9-3979-A92D-D6E4F009A06C}"/>
          </ac:spMkLst>
        </pc:spChg>
        <pc:spChg chg="add del mod">
          <ac:chgData name="Rizky Fajar" userId="490a5c0ae4650a6d" providerId="LiveId" clId="{5666174E-1FDC-4381-AE72-96AAAE51F635}" dt="2025-02-18T10:51:53.289" v="26670" actId="478"/>
          <ac:spMkLst>
            <pc:docMk/>
            <pc:sldMk cId="1728683986" sldId="4082"/>
            <ac:spMk id="216" creationId="{A46F6763-CD7D-8986-6057-8E75B5620230}"/>
          </ac:spMkLst>
        </pc:spChg>
        <pc:spChg chg="add mod">
          <ac:chgData name="Rizky Fajar" userId="490a5c0ae4650a6d" providerId="LiveId" clId="{5666174E-1FDC-4381-AE72-96AAAE51F635}" dt="2025-02-18T11:30:12.085" v="28143" actId="1076"/>
          <ac:spMkLst>
            <pc:docMk/>
            <pc:sldMk cId="1728683986" sldId="4082"/>
            <ac:spMk id="222" creationId="{F44EDC6F-ACB0-428F-CA44-377B695A2D0B}"/>
          </ac:spMkLst>
        </pc:spChg>
        <pc:spChg chg="add del mod">
          <ac:chgData name="Rizky Fajar" userId="490a5c0ae4650a6d" providerId="LiveId" clId="{5666174E-1FDC-4381-AE72-96AAAE51F635}" dt="2025-02-18T10:46:03.268" v="26473" actId="478"/>
          <ac:spMkLst>
            <pc:docMk/>
            <pc:sldMk cId="1728683986" sldId="4082"/>
            <ac:spMk id="224" creationId="{79170573-3F69-6FE6-0372-FCE78A89C83F}"/>
          </ac:spMkLst>
        </pc:spChg>
        <pc:spChg chg="add del mod">
          <ac:chgData name="Rizky Fajar" userId="490a5c0ae4650a6d" providerId="LiveId" clId="{5666174E-1FDC-4381-AE72-96AAAE51F635}" dt="2025-02-18T10:46:09.555" v="26476" actId="478"/>
          <ac:spMkLst>
            <pc:docMk/>
            <pc:sldMk cId="1728683986" sldId="4082"/>
            <ac:spMk id="228" creationId="{F7C00E5A-F77E-59C4-A1EF-51A09A49798B}"/>
          </ac:spMkLst>
        </pc:spChg>
        <pc:spChg chg="add del mod">
          <ac:chgData name="Rizky Fajar" userId="490a5c0ae4650a6d" providerId="LiveId" clId="{5666174E-1FDC-4381-AE72-96AAAE51F635}" dt="2025-02-18T10:46:08.647" v="26475" actId="478"/>
          <ac:spMkLst>
            <pc:docMk/>
            <pc:sldMk cId="1728683986" sldId="4082"/>
            <ac:spMk id="232" creationId="{91BFB2DD-2ABE-CC53-A9D3-56A5759ACE7B}"/>
          </ac:spMkLst>
        </pc:spChg>
        <pc:spChg chg="add mod">
          <ac:chgData name="Rizky Fajar" userId="490a5c0ae4650a6d" providerId="LiveId" clId="{5666174E-1FDC-4381-AE72-96AAAE51F635}" dt="2025-02-18T11:30:12.085" v="28143" actId="1076"/>
          <ac:spMkLst>
            <pc:docMk/>
            <pc:sldMk cId="1728683986" sldId="4082"/>
            <ac:spMk id="235" creationId="{2B18BF07-2FE6-D06E-C59B-EC2EEEA5B793}"/>
          </ac:spMkLst>
        </pc:spChg>
        <pc:spChg chg="add mod">
          <ac:chgData name="Rizky Fajar" userId="490a5c0ae4650a6d" providerId="LiveId" clId="{5666174E-1FDC-4381-AE72-96AAAE51F635}" dt="2025-02-18T11:30:12.085" v="28143" actId="1076"/>
          <ac:spMkLst>
            <pc:docMk/>
            <pc:sldMk cId="1728683986" sldId="4082"/>
            <ac:spMk id="236" creationId="{6B809899-9A87-9856-6BD6-21409AB1EC03}"/>
          </ac:spMkLst>
        </pc:spChg>
        <pc:spChg chg="add mod">
          <ac:chgData name="Rizky Fajar" userId="490a5c0ae4650a6d" providerId="LiveId" clId="{5666174E-1FDC-4381-AE72-96AAAE51F635}" dt="2025-02-18T11:30:12.085" v="28143" actId="1076"/>
          <ac:spMkLst>
            <pc:docMk/>
            <pc:sldMk cId="1728683986" sldId="4082"/>
            <ac:spMk id="237" creationId="{6D0766C5-D60F-D455-5B1E-20F4D58C527A}"/>
          </ac:spMkLst>
        </pc:spChg>
        <pc:spChg chg="add del mod">
          <ac:chgData name="Rizky Fajar" userId="490a5c0ae4650a6d" providerId="LiveId" clId="{5666174E-1FDC-4381-AE72-96AAAE51F635}" dt="2025-02-18T10:49:42.086" v="26558" actId="478"/>
          <ac:spMkLst>
            <pc:docMk/>
            <pc:sldMk cId="1728683986" sldId="4082"/>
            <ac:spMk id="246" creationId="{600D07A4-B6E2-D570-55EB-3C155A359A17}"/>
          </ac:spMkLst>
        </pc:spChg>
        <pc:spChg chg="add mod">
          <ac:chgData name="Rizky Fajar" userId="490a5c0ae4650a6d" providerId="LiveId" clId="{5666174E-1FDC-4381-AE72-96AAAE51F635}" dt="2025-02-18T11:17:30.273" v="27740" actId="404"/>
          <ac:spMkLst>
            <pc:docMk/>
            <pc:sldMk cId="1728683986" sldId="4082"/>
            <ac:spMk id="249" creationId="{9FB63D11-22BD-AFD3-3FAF-93D7A4B6BCEE}"/>
          </ac:spMkLst>
        </pc:spChg>
        <pc:spChg chg="add del mod topLvl">
          <ac:chgData name="Rizky Fajar" userId="490a5c0ae4650a6d" providerId="LiveId" clId="{5666174E-1FDC-4381-AE72-96AAAE51F635}" dt="2025-02-18T10:54:46.518" v="26789" actId="478"/>
          <ac:spMkLst>
            <pc:docMk/>
            <pc:sldMk cId="1728683986" sldId="4082"/>
            <ac:spMk id="251" creationId="{90303A2D-765B-E5A8-EB67-54A0E03B61A2}"/>
          </ac:spMkLst>
        </pc:spChg>
        <pc:spChg chg="del mod topLvl">
          <ac:chgData name="Rizky Fajar" userId="490a5c0ae4650a6d" providerId="LiveId" clId="{5666174E-1FDC-4381-AE72-96AAAE51F635}" dt="2025-02-18T10:53:44.846" v="26728" actId="478"/>
          <ac:spMkLst>
            <pc:docMk/>
            <pc:sldMk cId="1728683986" sldId="4082"/>
            <ac:spMk id="252" creationId="{45CC175E-6439-E9C7-A5ED-4CCB9CA9442F}"/>
          </ac:spMkLst>
        </pc:spChg>
        <pc:spChg chg="mod">
          <ac:chgData name="Rizky Fajar" userId="490a5c0ae4650a6d" providerId="LiveId" clId="{5666174E-1FDC-4381-AE72-96AAAE51F635}" dt="2025-02-18T10:53:33.627" v="26724"/>
          <ac:spMkLst>
            <pc:docMk/>
            <pc:sldMk cId="1728683986" sldId="4082"/>
            <ac:spMk id="255" creationId="{562AFCCB-983F-4F56-86B5-22F17CDF7C4C}"/>
          </ac:spMkLst>
        </pc:spChg>
        <pc:spChg chg="mod">
          <ac:chgData name="Rizky Fajar" userId="490a5c0ae4650a6d" providerId="LiveId" clId="{5666174E-1FDC-4381-AE72-96AAAE51F635}" dt="2025-02-18T10:53:33.627" v="26724"/>
          <ac:spMkLst>
            <pc:docMk/>
            <pc:sldMk cId="1728683986" sldId="4082"/>
            <ac:spMk id="256" creationId="{B706ED46-15BB-10A6-4D2E-D8C80C277E6A}"/>
          </ac:spMkLst>
        </pc:spChg>
        <pc:spChg chg="add mod">
          <ac:chgData name="Rizky Fajar" userId="490a5c0ae4650a6d" providerId="LiveId" clId="{5666174E-1FDC-4381-AE72-96AAAE51F635}" dt="2025-02-18T11:30:12.085" v="28143" actId="1076"/>
          <ac:spMkLst>
            <pc:docMk/>
            <pc:sldMk cId="1728683986" sldId="4082"/>
            <ac:spMk id="258" creationId="{AFE1ACAE-386F-F884-E0B3-B2445CD86C23}"/>
          </ac:spMkLst>
        </pc:spChg>
        <pc:spChg chg="add mod topLvl">
          <ac:chgData name="Rizky Fajar" userId="490a5c0ae4650a6d" providerId="LiveId" clId="{5666174E-1FDC-4381-AE72-96AAAE51F635}" dt="2025-02-18T11:30:12.085" v="28143" actId="1076"/>
          <ac:spMkLst>
            <pc:docMk/>
            <pc:sldMk cId="1728683986" sldId="4082"/>
            <ac:spMk id="259" creationId="{4E3DB16C-8B24-1CC9-CE51-E4B1360E3873}"/>
          </ac:spMkLst>
        </pc:spChg>
        <pc:spChg chg="add mod">
          <ac:chgData name="Rizky Fajar" userId="490a5c0ae4650a6d" providerId="LiveId" clId="{5666174E-1FDC-4381-AE72-96AAAE51F635}" dt="2025-02-18T11:30:12.085" v="28143" actId="1076"/>
          <ac:spMkLst>
            <pc:docMk/>
            <pc:sldMk cId="1728683986" sldId="4082"/>
            <ac:spMk id="261" creationId="{D33734EB-DD1B-F97B-07E5-117674533776}"/>
          </ac:spMkLst>
        </pc:spChg>
        <pc:spChg chg="add mod">
          <ac:chgData name="Rizky Fajar" userId="490a5c0ae4650a6d" providerId="LiveId" clId="{5666174E-1FDC-4381-AE72-96AAAE51F635}" dt="2025-02-18T11:30:12.085" v="28143" actId="1076"/>
          <ac:spMkLst>
            <pc:docMk/>
            <pc:sldMk cId="1728683986" sldId="4082"/>
            <ac:spMk id="262" creationId="{9249DA84-E4BF-B40A-13A9-FF0AB9B6F310}"/>
          </ac:spMkLst>
        </pc:spChg>
        <pc:spChg chg="add del mod ord topLvl">
          <ac:chgData name="Rizky Fajar" userId="490a5c0ae4650a6d" providerId="LiveId" clId="{5666174E-1FDC-4381-AE72-96AAAE51F635}" dt="2025-02-18T11:20:30.891" v="27793" actId="208"/>
          <ac:spMkLst>
            <pc:docMk/>
            <pc:sldMk cId="1728683986" sldId="4082"/>
            <ac:spMk id="264" creationId="{3CD4C35C-552C-67FA-1979-A2F513B0EF0D}"/>
          </ac:spMkLst>
        </pc:spChg>
        <pc:spChg chg="del mod topLvl">
          <ac:chgData name="Rizky Fajar" userId="490a5c0ae4650a6d" providerId="LiveId" clId="{5666174E-1FDC-4381-AE72-96AAAE51F635}" dt="2025-02-18T11:05:56.442" v="27520" actId="478"/>
          <ac:spMkLst>
            <pc:docMk/>
            <pc:sldMk cId="1728683986" sldId="4082"/>
            <ac:spMk id="277" creationId="{93815EBE-B567-339C-BA90-94285DB54F87}"/>
          </ac:spMkLst>
        </pc:spChg>
        <pc:spChg chg="add mod topLvl">
          <ac:chgData name="Rizky Fajar" userId="490a5c0ae4650a6d" providerId="LiveId" clId="{5666174E-1FDC-4381-AE72-96AAAE51F635}" dt="2025-02-18T11:04:38.519" v="27480" actId="164"/>
          <ac:spMkLst>
            <pc:docMk/>
            <pc:sldMk cId="1728683986" sldId="4082"/>
            <ac:spMk id="285" creationId="{07ED2D86-4E35-9C05-786A-ECA9CC78E3A3}"/>
          </ac:spMkLst>
        </pc:spChg>
        <pc:spChg chg="mod">
          <ac:chgData name="Rizky Fajar" userId="490a5c0ae4650a6d" providerId="LiveId" clId="{5666174E-1FDC-4381-AE72-96AAAE51F635}" dt="2025-02-18T11:03:22.784" v="27453" actId="571"/>
          <ac:spMkLst>
            <pc:docMk/>
            <pc:sldMk cId="1728683986" sldId="4082"/>
            <ac:spMk id="295" creationId="{B17FDD0D-101A-3CBD-D3EF-EAE77B13AFB0}"/>
          </ac:spMkLst>
        </pc:spChg>
        <pc:spChg chg="mod">
          <ac:chgData name="Rizky Fajar" userId="490a5c0ae4650a6d" providerId="LiveId" clId="{5666174E-1FDC-4381-AE72-96AAAE51F635}" dt="2025-02-18T11:03:22.784" v="27453" actId="571"/>
          <ac:spMkLst>
            <pc:docMk/>
            <pc:sldMk cId="1728683986" sldId="4082"/>
            <ac:spMk id="296" creationId="{EA20BDE7-2041-61B8-D88D-F66E9B62EA81}"/>
          </ac:spMkLst>
        </pc:spChg>
        <pc:spChg chg="del mod topLvl">
          <ac:chgData name="Rizky Fajar" userId="490a5c0ae4650a6d" providerId="LiveId" clId="{5666174E-1FDC-4381-AE72-96AAAE51F635}" dt="2025-02-18T11:06:02.176" v="27523" actId="478"/>
          <ac:spMkLst>
            <pc:docMk/>
            <pc:sldMk cId="1728683986" sldId="4082"/>
            <ac:spMk id="308" creationId="{2332E267-CBF8-985B-0671-6FFF3C55930B}"/>
          </ac:spMkLst>
        </pc:spChg>
        <pc:spChg chg="add del mod topLvl">
          <ac:chgData name="Rizky Fajar" userId="490a5c0ae4650a6d" providerId="LiveId" clId="{5666174E-1FDC-4381-AE72-96AAAE51F635}" dt="2025-02-18T11:08:56.356" v="27608" actId="478"/>
          <ac:spMkLst>
            <pc:docMk/>
            <pc:sldMk cId="1728683986" sldId="4082"/>
            <ac:spMk id="309" creationId="{50874E0A-7B38-1B84-0F03-943A78F54AEE}"/>
          </ac:spMkLst>
        </pc:spChg>
        <pc:spChg chg="mod">
          <ac:chgData name="Rizky Fajar" userId="490a5c0ae4650a6d" providerId="LiveId" clId="{5666174E-1FDC-4381-AE72-96AAAE51F635}" dt="2025-02-18T11:08:04.793" v="27566" actId="571"/>
          <ac:spMkLst>
            <pc:docMk/>
            <pc:sldMk cId="1728683986" sldId="4082"/>
            <ac:spMk id="335" creationId="{FAB2371B-E711-F40B-7835-567C40428E9F}"/>
          </ac:spMkLst>
        </pc:spChg>
        <pc:spChg chg="mod">
          <ac:chgData name="Rizky Fajar" userId="490a5c0ae4650a6d" providerId="LiveId" clId="{5666174E-1FDC-4381-AE72-96AAAE51F635}" dt="2025-02-18T11:17:23.804" v="27738" actId="255"/>
          <ac:spMkLst>
            <pc:docMk/>
            <pc:sldMk cId="1728683986" sldId="4082"/>
            <ac:spMk id="340" creationId="{E55C982B-9365-ECE2-D01C-313DB0BED1D2}"/>
          </ac:spMkLst>
        </pc:spChg>
        <pc:spChg chg="add del mod">
          <ac:chgData name="Rizky Fajar" userId="490a5c0ae4650a6d" providerId="LiveId" clId="{5666174E-1FDC-4381-AE72-96AAAE51F635}" dt="2025-02-18T11:20:54.883" v="27800" actId="208"/>
          <ac:spMkLst>
            <pc:docMk/>
            <pc:sldMk cId="1728683986" sldId="4082"/>
            <ac:spMk id="341" creationId="{02EB07B6-852D-3A7C-E233-59FB1BB52C7C}"/>
          </ac:spMkLst>
        </pc:spChg>
        <pc:spChg chg="add mod">
          <ac:chgData name="Rizky Fajar" userId="490a5c0ae4650a6d" providerId="LiveId" clId="{5666174E-1FDC-4381-AE72-96AAAE51F635}" dt="2025-02-18T11:20:42.554" v="27797" actId="208"/>
          <ac:spMkLst>
            <pc:docMk/>
            <pc:sldMk cId="1728683986" sldId="4082"/>
            <ac:spMk id="346" creationId="{1945082C-7403-CD1A-62AC-350A9D47F480}"/>
          </ac:spMkLst>
        </pc:spChg>
        <pc:spChg chg="mod">
          <ac:chgData name="Rizky Fajar" userId="490a5c0ae4650a6d" providerId="LiveId" clId="{5666174E-1FDC-4381-AE72-96AAAE51F635}" dt="2025-02-18T11:21:29.322" v="27827" actId="571"/>
          <ac:spMkLst>
            <pc:docMk/>
            <pc:sldMk cId="1728683986" sldId="4082"/>
            <ac:spMk id="365" creationId="{1945082C-7403-CD1A-62AC-350A9D47F480}"/>
          </ac:spMkLst>
        </pc:spChg>
        <pc:spChg chg="mod topLvl">
          <ac:chgData name="Rizky Fajar" userId="490a5c0ae4650a6d" providerId="LiveId" clId="{5666174E-1FDC-4381-AE72-96AAAE51F635}" dt="2025-02-18T11:29:32.023" v="28129" actId="14100"/>
          <ac:spMkLst>
            <pc:docMk/>
            <pc:sldMk cId="1728683986" sldId="4082"/>
            <ac:spMk id="370" creationId="{B1155ED5-1A83-9086-2976-A7EDECFCAB4C}"/>
          </ac:spMkLst>
        </pc:spChg>
        <pc:spChg chg="mod topLvl">
          <ac:chgData name="Rizky Fajar" userId="490a5c0ae4650a6d" providerId="LiveId" clId="{5666174E-1FDC-4381-AE72-96AAAE51F635}" dt="2025-02-18T11:22:35.101" v="27860" actId="164"/>
          <ac:spMkLst>
            <pc:docMk/>
            <pc:sldMk cId="1728683986" sldId="4082"/>
            <ac:spMk id="371" creationId="{BF71FFE0-4964-BB61-6837-90E67F51CEFA}"/>
          </ac:spMkLst>
        </pc:spChg>
        <pc:spChg chg="add mod">
          <ac:chgData name="Rizky Fajar" userId="490a5c0ae4650a6d" providerId="LiveId" clId="{5666174E-1FDC-4381-AE72-96AAAE51F635}" dt="2025-02-18T11:30:12.085" v="28143" actId="1076"/>
          <ac:spMkLst>
            <pc:docMk/>
            <pc:sldMk cId="1728683986" sldId="4082"/>
            <ac:spMk id="383" creationId="{E852C4DF-B681-1A18-B49A-6AD4C69901B6}"/>
          </ac:spMkLst>
        </pc:spChg>
        <pc:spChg chg="add mod">
          <ac:chgData name="Rizky Fajar" userId="490a5c0ae4650a6d" providerId="LiveId" clId="{5666174E-1FDC-4381-AE72-96AAAE51F635}" dt="2025-02-18T11:30:11.710" v="28142" actId="571"/>
          <ac:spMkLst>
            <pc:docMk/>
            <pc:sldMk cId="1728683986" sldId="4082"/>
            <ac:spMk id="392" creationId="{C7B322D9-70E5-EF49-097A-1653257BA4D9}"/>
          </ac:spMkLst>
        </pc:spChg>
        <pc:spChg chg="add mod ord">
          <ac:chgData name="Rizky Fajar" userId="490a5c0ae4650a6d" providerId="LiveId" clId="{5666174E-1FDC-4381-AE72-96AAAE51F635}" dt="2025-02-18T11:33:00.695" v="28319" actId="164"/>
          <ac:spMkLst>
            <pc:docMk/>
            <pc:sldMk cId="1728683986" sldId="4082"/>
            <ac:spMk id="396" creationId="{F7AF2C66-BBCB-B3CB-31DF-4F8C2411CBA9}"/>
          </ac:spMkLst>
        </pc:spChg>
        <pc:spChg chg="add mod topLvl">
          <ac:chgData name="Rizky Fajar" userId="490a5c0ae4650a6d" providerId="LiveId" clId="{5666174E-1FDC-4381-AE72-96AAAE51F635}" dt="2025-02-18T11:33:00.695" v="28319" actId="164"/>
          <ac:spMkLst>
            <pc:docMk/>
            <pc:sldMk cId="1728683986" sldId="4082"/>
            <ac:spMk id="406" creationId="{1C60631A-F59F-B7AA-5BE2-5A4EDC4696AE}"/>
          </ac:spMkLst>
        </pc:spChg>
        <pc:spChg chg="add del mod topLvl">
          <ac:chgData name="Rizky Fajar" userId="490a5c0ae4650a6d" providerId="LiveId" clId="{5666174E-1FDC-4381-AE72-96AAAE51F635}" dt="2025-02-18T11:32:44.757" v="28304" actId="478"/>
          <ac:spMkLst>
            <pc:docMk/>
            <pc:sldMk cId="1728683986" sldId="4082"/>
            <ac:spMk id="407" creationId="{B839210F-4F18-88D2-519C-ED173767D0A4}"/>
          </ac:spMkLst>
        </pc:spChg>
        <pc:spChg chg="add mod">
          <ac:chgData name="Rizky Fajar" userId="490a5c0ae4650a6d" providerId="LiveId" clId="{5666174E-1FDC-4381-AE72-96AAAE51F635}" dt="2025-02-18T11:33:00.695" v="28319" actId="164"/>
          <ac:spMkLst>
            <pc:docMk/>
            <pc:sldMk cId="1728683986" sldId="4082"/>
            <ac:spMk id="414" creationId="{F20C22DF-52FF-2251-FC9F-181382967C30}"/>
          </ac:spMkLst>
        </pc:spChg>
        <pc:spChg chg="add mod">
          <ac:chgData name="Rizky Fajar" userId="490a5c0ae4650a6d" providerId="LiveId" clId="{5666174E-1FDC-4381-AE72-96AAAE51F635}" dt="2025-02-18T13:01:53.584" v="28670" actId="1076"/>
          <ac:spMkLst>
            <pc:docMk/>
            <pc:sldMk cId="1728683986" sldId="4082"/>
            <ac:spMk id="417" creationId="{80A87D9D-C3CB-175B-B816-91272806E8C1}"/>
          </ac:spMkLst>
        </pc:spChg>
        <pc:grpChg chg="mod">
          <ac:chgData name="Rizky Fajar" userId="490a5c0ae4650a6d" providerId="LiveId" clId="{5666174E-1FDC-4381-AE72-96AAAE51F635}" dt="2025-02-18T10:59:49.206" v="27378" actId="1076"/>
          <ac:grpSpMkLst>
            <pc:docMk/>
            <pc:sldMk cId="1728683986" sldId="4082"/>
            <ac:grpSpMk id="4" creationId="{AE762657-6E26-0F22-2346-D662B215C69C}"/>
          </ac:grpSpMkLst>
        </pc:grpChg>
        <pc:grpChg chg="add del mod ord">
          <ac:chgData name="Rizky Fajar" userId="490a5c0ae4650a6d" providerId="LiveId" clId="{5666174E-1FDC-4381-AE72-96AAAE51F635}" dt="2025-02-18T10:27:23.131" v="25547" actId="165"/>
          <ac:grpSpMkLst>
            <pc:docMk/>
            <pc:sldMk cId="1728683986" sldId="4082"/>
            <ac:grpSpMk id="39" creationId="{A4DDFB43-CCD2-8D4D-9A9E-3BF824EE7A55}"/>
          </ac:grpSpMkLst>
        </pc:grpChg>
        <pc:grpChg chg="add mod">
          <ac:chgData name="Rizky Fajar" userId="490a5c0ae4650a6d" providerId="LiveId" clId="{5666174E-1FDC-4381-AE72-96AAAE51F635}" dt="2025-02-18T10:19:23.163" v="25430" actId="571"/>
          <ac:grpSpMkLst>
            <pc:docMk/>
            <pc:sldMk cId="1728683986" sldId="4082"/>
            <ac:grpSpMk id="40" creationId="{AD9BC0DD-D3B1-27F5-5513-FDFA922F15E6}"/>
          </ac:grpSpMkLst>
        </pc:grpChg>
        <pc:grpChg chg="add mod">
          <ac:chgData name="Rizky Fajar" userId="490a5c0ae4650a6d" providerId="LiveId" clId="{5666174E-1FDC-4381-AE72-96AAAE51F635}" dt="2025-02-18T10:27:56.366" v="25557" actId="338"/>
          <ac:grpSpMkLst>
            <pc:docMk/>
            <pc:sldMk cId="1728683986" sldId="4082"/>
            <ac:grpSpMk id="68" creationId="{6E1F7CDA-D029-628E-A982-793701EF7C1D}"/>
          </ac:grpSpMkLst>
        </pc:grpChg>
        <pc:grpChg chg="add mod">
          <ac:chgData name="Rizky Fajar" userId="490a5c0ae4650a6d" providerId="LiveId" clId="{5666174E-1FDC-4381-AE72-96AAAE51F635}" dt="2025-02-18T10:33:20.836" v="25705" actId="164"/>
          <ac:grpSpMkLst>
            <pc:docMk/>
            <pc:sldMk cId="1728683986" sldId="4082"/>
            <ac:grpSpMk id="69" creationId="{D1837654-FCA5-3027-EF69-3F99F08CA206}"/>
          </ac:grpSpMkLst>
        </pc:grpChg>
        <pc:grpChg chg="add mod">
          <ac:chgData name="Rizky Fajar" userId="490a5c0ae4650a6d" providerId="LiveId" clId="{5666174E-1FDC-4381-AE72-96AAAE51F635}" dt="2025-02-18T10:33:20.836" v="25705" actId="164"/>
          <ac:grpSpMkLst>
            <pc:docMk/>
            <pc:sldMk cId="1728683986" sldId="4082"/>
            <ac:grpSpMk id="70" creationId="{A9D36DD9-A79B-E139-2886-71C8A06D34C7}"/>
          </ac:grpSpMkLst>
        </pc:grpChg>
        <pc:grpChg chg="add mod">
          <ac:chgData name="Rizky Fajar" userId="490a5c0ae4650a6d" providerId="LiveId" clId="{5666174E-1FDC-4381-AE72-96AAAE51F635}" dt="2025-02-18T10:33:20.836" v="25705" actId="164"/>
          <ac:grpSpMkLst>
            <pc:docMk/>
            <pc:sldMk cId="1728683986" sldId="4082"/>
            <ac:grpSpMk id="72" creationId="{DADE5E60-5ABF-0496-B8E7-062F5ADFC0A9}"/>
          </ac:grpSpMkLst>
        </pc:grpChg>
        <pc:grpChg chg="add mod">
          <ac:chgData name="Rizky Fajar" userId="490a5c0ae4650a6d" providerId="LiveId" clId="{5666174E-1FDC-4381-AE72-96AAAE51F635}" dt="2025-02-18T10:33:20.836" v="25705" actId="164"/>
          <ac:grpSpMkLst>
            <pc:docMk/>
            <pc:sldMk cId="1728683986" sldId="4082"/>
            <ac:grpSpMk id="74" creationId="{C40A1E3C-68A0-C37A-D73B-DDDE2529875E}"/>
          </ac:grpSpMkLst>
        </pc:grpChg>
        <pc:grpChg chg="add mod">
          <ac:chgData name="Rizky Fajar" userId="490a5c0ae4650a6d" providerId="LiveId" clId="{5666174E-1FDC-4381-AE72-96AAAE51F635}" dt="2025-02-18T10:30:37.236" v="25633" actId="571"/>
          <ac:grpSpMkLst>
            <pc:docMk/>
            <pc:sldMk cId="1728683986" sldId="4082"/>
            <ac:grpSpMk id="81" creationId="{380AB761-BFED-7F2C-481C-77A6D90765FC}"/>
          </ac:grpSpMkLst>
        </pc:grpChg>
        <pc:grpChg chg="add mod">
          <ac:chgData name="Rizky Fajar" userId="490a5c0ae4650a6d" providerId="LiveId" clId="{5666174E-1FDC-4381-AE72-96AAAE51F635}" dt="2025-02-18T10:37:28.337" v="25975" actId="164"/>
          <ac:grpSpMkLst>
            <pc:docMk/>
            <pc:sldMk cId="1728683986" sldId="4082"/>
            <ac:grpSpMk id="148" creationId="{2A016055-3A86-E187-71D6-2C346132E186}"/>
          </ac:grpSpMkLst>
        </pc:grpChg>
        <pc:grpChg chg="mod">
          <ac:chgData name="Rizky Fajar" userId="490a5c0ae4650a6d" providerId="LiveId" clId="{5666174E-1FDC-4381-AE72-96AAAE51F635}" dt="2025-02-18T10:47:03.117" v="26488" actId="164"/>
          <ac:grpSpMkLst>
            <pc:docMk/>
            <pc:sldMk cId="1728683986" sldId="4082"/>
            <ac:grpSpMk id="149" creationId="{7F852420-FD65-7BE6-CE04-C3D9801A60BE}"/>
          </ac:grpSpMkLst>
        </pc:grpChg>
        <pc:grpChg chg="mod">
          <ac:chgData name="Rizky Fajar" userId="490a5c0ae4650a6d" providerId="LiveId" clId="{5666174E-1FDC-4381-AE72-96AAAE51F635}" dt="2025-02-18T10:46:57.679" v="26487" actId="164"/>
          <ac:grpSpMkLst>
            <pc:docMk/>
            <pc:sldMk cId="1728683986" sldId="4082"/>
            <ac:grpSpMk id="165" creationId="{796694F5-B72B-2D7D-7BEE-B22DCB9E14F1}"/>
          </ac:grpSpMkLst>
        </pc:grpChg>
        <pc:grpChg chg="mod">
          <ac:chgData name="Rizky Fajar" userId="490a5c0ae4650a6d" providerId="LiveId" clId="{5666174E-1FDC-4381-AE72-96AAAE51F635}" dt="2025-02-18T10:37:23.554" v="25974" actId="1076"/>
          <ac:grpSpMkLst>
            <pc:docMk/>
            <pc:sldMk cId="1728683986" sldId="4082"/>
            <ac:grpSpMk id="181" creationId="{F1D5A3B7-CA5A-9811-1158-77D127FB95C5}"/>
          </ac:grpSpMkLst>
        </pc:grpChg>
        <pc:grpChg chg="del">
          <ac:chgData name="Rizky Fajar" userId="490a5c0ae4650a6d" providerId="LiveId" clId="{5666174E-1FDC-4381-AE72-96AAAE51F635}" dt="2025-02-18T10:37:33.288" v="25976" actId="478"/>
          <ac:grpSpMkLst>
            <pc:docMk/>
            <pc:sldMk cId="1728683986" sldId="4082"/>
            <ac:grpSpMk id="184" creationId="{1311C5C5-A7DF-2384-95F1-72F835FF44E7}"/>
          </ac:grpSpMkLst>
        </pc:grpChg>
        <pc:grpChg chg="mod topLvl">
          <ac:chgData name="Rizky Fajar" userId="490a5c0ae4650a6d" providerId="LiveId" clId="{5666174E-1FDC-4381-AE72-96AAAE51F635}" dt="2025-02-18T10:46:47.257" v="26483" actId="164"/>
          <ac:grpSpMkLst>
            <pc:docMk/>
            <pc:sldMk cId="1728683986" sldId="4082"/>
            <ac:grpSpMk id="185" creationId="{54670AE3-07B2-5790-48FC-A3D401248F6F}"/>
          </ac:grpSpMkLst>
        </pc:grpChg>
        <pc:grpChg chg="mod topLvl">
          <ac:chgData name="Rizky Fajar" userId="490a5c0ae4650a6d" providerId="LiveId" clId="{5666174E-1FDC-4381-AE72-96AAAE51F635}" dt="2025-02-18T10:46:47.257" v="26483" actId="164"/>
          <ac:grpSpMkLst>
            <pc:docMk/>
            <pc:sldMk cId="1728683986" sldId="4082"/>
            <ac:grpSpMk id="186" creationId="{E72F08E0-380C-7EB8-7E5E-76D6341ADA1B}"/>
          </ac:grpSpMkLst>
        </pc:grpChg>
        <pc:grpChg chg="mod">
          <ac:chgData name="Rizky Fajar" userId="490a5c0ae4650a6d" providerId="LiveId" clId="{5666174E-1FDC-4381-AE72-96AAAE51F635}" dt="2025-02-18T10:46:47.257" v="26483" actId="164"/>
          <ac:grpSpMkLst>
            <pc:docMk/>
            <pc:sldMk cId="1728683986" sldId="4082"/>
            <ac:grpSpMk id="187" creationId="{4F00C6E5-FB6E-49E3-9D8D-46851AC35C3D}"/>
          </ac:grpSpMkLst>
        </pc:grpChg>
        <pc:grpChg chg="mod">
          <ac:chgData name="Rizky Fajar" userId="490a5c0ae4650a6d" providerId="LiveId" clId="{5666174E-1FDC-4381-AE72-96AAAE51F635}" dt="2025-02-18T10:46:52.414" v="26484" actId="164"/>
          <ac:grpSpMkLst>
            <pc:docMk/>
            <pc:sldMk cId="1728683986" sldId="4082"/>
            <ac:grpSpMk id="197" creationId="{4CA2D114-31AE-2D9F-AC77-D82A27BBD4EB}"/>
          </ac:grpSpMkLst>
        </pc:grpChg>
        <pc:grpChg chg="del">
          <ac:chgData name="Rizky Fajar" userId="490a5c0ae4650a6d" providerId="LiveId" clId="{5666174E-1FDC-4381-AE72-96AAAE51F635}" dt="2025-02-18T11:23:53.195" v="27925" actId="478"/>
          <ac:grpSpMkLst>
            <pc:docMk/>
            <pc:sldMk cId="1728683986" sldId="4082"/>
            <ac:grpSpMk id="202" creationId="{8516BF3C-EC78-42C3-39AA-D8F8956A1282}"/>
          </ac:grpSpMkLst>
        </pc:grpChg>
        <pc:grpChg chg="del">
          <ac:chgData name="Rizky Fajar" userId="490a5c0ae4650a6d" providerId="LiveId" clId="{5666174E-1FDC-4381-AE72-96AAAE51F635}" dt="2025-02-18T11:23:55.494" v="27926" actId="478"/>
          <ac:grpSpMkLst>
            <pc:docMk/>
            <pc:sldMk cId="1728683986" sldId="4082"/>
            <ac:grpSpMk id="203" creationId="{633284BE-3B32-E018-CE64-9C4249F300F6}"/>
          </ac:grpSpMkLst>
        </pc:grpChg>
        <pc:grpChg chg="add mod">
          <ac:chgData name="Rizky Fajar" userId="490a5c0ae4650a6d" providerId="LiveId" clId="{5666174E-1FDC-4381-AE72-96AAAE51F635}" dt="2025-02-18T10:58:24.237" v="27343" actId="1076"/>
          <ac:grpSpMkLst>
            <pc:docMk/>
            <pc:sldMk cId="1728683986" sldId="4082"/>
            <ac:grpSpMk id="213" creationId="{B9E27671-C5A7-DB1C-B0D5-A07895CE85CE}"/>
          </ac:grpSpMkLst>
        </pc:grpChg>
        <pc:grpChg chg="add mod">
          <ac:chgData name="Rizky Fajar" userId="490a5c0ae4650a6d" providerId="LiveId" clId="{5666174E-1FDC-4381-AE72-96AAAE51F635}" dt="2025-02-18T11:18:30.272" v="27752" actId="1076"/>
          <ac:grpSpMkLst>
            <pc:docMk/>
            <pc:sldMk cId="1728683986" sldId="4082"/>
            <ac:grpSpMk id="238" creationId="{39C47D47-15B5-DC1C-DE47-B98DF4C47EDD}"/>
          </ac:grpSpMkLst>
        </pc:grpChg>
        <pc:grpChg chg="add mod">
          <ac:chgData name="Rizky Fajar" userId="490a5c0ae4650a6d" providerId="LiveId" clId="{5666174E-1FDC-4381-AE72-96AAAE51F635}" dt="2025-02-18T11:03:46.816" v="27465" actId="1037"/>
          <ac:grpSpMkLst>
            <pc:docMk/>
            <pc:sldMk cId="1728683986" sldId="4082"/>
            <ac:grpSpMk id="239" creationId="{70709075-A9D6-DD9F-5146-A906EE7171EF}"/>
          </ac:grpSpMkLst>
        </pc:grpChg>
        <pc:grpChg chg="add mod">
          <ac:chgData name="Rizky Fajar" userId="490a5c0ae4650a6d" providerId="LiveId" clId="{5666174E-1FDC-4381-AE72-96AAAE51F635}" dt="2025-02-18T11:18:30.272" v="27752" actId="1076"/>
          <ac:grpSpMkLst>
            <pc:docMk/>
            <pc:sldMk cId="1728683986" sldId="4082"/>
            <ac:grpSpMk id="240" creationId="{C68DDCAB-1186-EC94-8158-E0EB20DE94BC}"/>
          </ac:grpSpMkLst>
        </pc:grpChg>
        <pc:grpChg chg="add mod">
          <ac:chgData name="Rizky Fajar" userId="490a5c0ae4650a6d" providerId="LiveId" clId="{5666174E-1FDC-4381-AE72-96AAAE51F635}" dt="2025-02-18T11:19:49.726" v="27787" actId="14100"/>
          <ac:grpSpMkLst>
            <pc:docMk/>
            <pc:sldMk cId="1728683986" sldId="4082"/>
            <ac:grpSpMk id="241" creationId="{EE5BE66B-5260-7686-6581-2EBF4970487A}"/>
          </ac:grpSpMkLst>
        </pc:grpChg>
        <pc:grpChg chg="add del mod">
          <ac:chgData name="Rizky Fajar" userId="490a5c0ae4650a6d" providerId="LiveId" clId="{5666174E-1FDC-4381-AE72-96AAAE51F635}" dt="2025-02-18T10:52:57.742" v="26716" actId="165"/>
          <ac:grpSpMkLst>
            <pc:docMk/>
            <pc:sldMk cId="1728683986" sldId="4082"/>
            <ac:grpSpMk id="250" creationId="{6BD215C5-0CF7-0A8D-39C7-56E6AD40D101}"/>
          </ac:grpSpMkLst>
        </pc:grpChg>
        <pc:grpChg chg="add del mod">
          <ac:chgData name="Rizky Fajar" userId="490a5c0ae4650a6d" providerId="LiveId" clId="{5666174E-1FDC-4381-AE72-96AAAE51F635}" dt="2025-02-18T10:53:35.002" v="26725" actId="478"/>
          <ac:grpSpMkLst>
            <pc:docMk/>
            <pc:sldMk cId="1728683986" sldId="4082"/>
            <ac:grpSpMk id="254" creationId="{76BB0C96-18B6-70D4-665E-3DEE6A200683}"/>
          </ac:grpSpMkLst>
        </pc:grpChg>
        <pc:grpChg chg="add del mod">
          <ac:chgData name="Rizky Fajar" userId="490a5c0ae4650a6d" providerId="LiveId" clId="{5666174E-1FDC-4381-AE72-96AAAE51F635}" dt="2025-02-18T10:55:34.940" v="26802" actId="165"/>
          <ac:grpSpMkLst>
            <pc:docMk/>
            <pc:sldMk cId="1728683986" sldId="4082"/>
            <ac:grpSpMk id="260" creationId="{331A77B9-6727-E2AC-2407-A9583137A1FA}"/>
          </ac:grpSpMkLst>
        </pc:grpChg>
        <pc:grpChg chg="add del mod">
          <ac:chgData name="Rizky Fajar" userId="490a5c0ae4650a6d" providerId="LiveId" clId="{5666174E-1FDC-4381-AE72-96AAAE51F635}" dt="2025-02-18T11:08:10.074" v="27569" actId="164"/>
          <ac:grpSpMkLst>
            <pc:docMk/>
            <pc:sldMk cId="1728683986" sldId="4082"/>
            <ac:grpSpMk id="269" creationId="{4665DDB0-B461-D1E2-C652-11540933BB10}"/>
          </ac:grpSpMkLst>
        </pc:grpChg>
        <pc:grpChg chg="add del mod">
          <ac:chgData name="Rizky Fajar" userId="490a5c0ae4650a6d" providerId="LiveId" clId="{5666174E-1FDC-4381-AE72-96AAAE51F635}" dt="2025-02-18T11:01:10.691" v="27398" actId="478"/>
          <ac:grpSpMkLst>
            <pc:docMk/>
            <pc:sldMk cId="1728683986" sldId="4082"/>
            <ac:grpSpMk id="276" creationId="{1C5C2CB3-3258-0D5B-0D38-F66FA900A8B4}"/>
          </ac:grpSpMkLst>
        </pc:grpChg>
        <pc:grpChg chg="add del mod">
          <ac:chgData name="Rizky Fajar" userId="490a5c0ae4650a6d" providerId="LiveId" clId="{5666174E-1FDC-4381-AE72-96AAAE51F635}" dt="2025-02-18T11:04:04.613" v="27469" actId="165"/>
          <ac:grpSpMkLst>
            <pc:docMk/>
            <pc:sldMk cId="1728683986" sldId="4082"/>
            <ac:grpSpMk id="291" creationId="{9AA54F90-C8E5-D042-7FB1-6D09F7F45F74}"/>
          </ac:grpSpMkLst>
        </pc:grpChg>
        <pc:grpChg chg="add mod">
          <ac:chgData name="Rizky Fajar" userId="490a5c0ae4650a6d" providerId="LiveId" clId="{5666174E-1FDC-4381-AE72-96AAAE51F635}" dt="2025-02-18T11:03:22.784" v="27453" actId="571"/>
          <ac:grpSpMkLst>
            <pc:docMk/>
            <pc:sldMk cId="1728683986" sldId="4082"/>
            <ac:grpSpMk id="294" creationId="{48F37D7C-8411-0F43-3452-D231212BA7AB}"/>
          </ac:grpSpMkLst>
        </pc:grpChg>
        <pc:grpChg chg="add del mod">
          <ac:chgData name="Rizky Fajar" userId="490a5c0ae4650a6d" providerId="LiveId" clId="{5666174E-1FDC-4381-AE72-96AAAE51F635}" dt="2025-02-18T11:09:37.946" v="27647" actId="478"/>
          <ac:grpSpMkLst>
            <pc:docMk/>
            <pc:sldMk cId="1728683986" sldId="4082"/>
            <ac:grpSpMk id="303" creationId="{D0097592-AFCA-0088-7A43-3D1F002FAF11}"/>
          </ac:grpSpMkLst>
        </pc:grpChg>
        <pc:grpChg chg="add del mod">
          <ac:chgData name="Rizky Fajar" userId="490a5c0ae4650a6d" providerId="LiveId" clId="{5666174E-1FDC-4381-AE72-96AAAE51F635}" dt="2025-02-18T11:06:02.176" v="27523" actId="478"/>
          <ac:grpSpMkLst>
            <pc:docMk/>
            <pc:sldMk cId="1728683986" sldId="4082"/>
            <ac:grpSpMk id="307" creationId="{C0809A01-75BC-276A-EBCE-C172A20FBB7D}"/>
          </ac:grpSpMkLst>
        </pc:grpChg>
        <pc:grpChg chg="add mod">
          <ac:chgData name="Rizky Fajar" userId="490a5c0ae4650a6d" providerId="LiveId" clId="{5666174E-1FDC-4381-AE72-96AAAE51F635}" dt="2025-02-18T11:07:03.715" v="27543" actId="164"/>
          <ac:grpSpMkLst>
            <pc:docMk/>
            <pc:sldMk cId="1728683986" sldId="4082"/>
            <ac:grpSpMk id="314" creationId="{DA24DEB8-B0F1-0F20-9FF9-C3412EA2E779}"/>
          </ac:grpSpMkLst>
        </pc:grpChg>
        <pc:grpChg chg="add del mod">
          <ac:chgData name="Rizky Fajar" userId="490a5c0ae4650a6d" providerId="LiveId" clId="{5666174E-1FDC-4381-AE72-96AAAE51F635}" dt="2025-02-18T11:08:12.449" v="27570" actId="478"/>
          <ac:grpSpMkLst>
            <pc:docMk/>
            <pc:sldMk cId="1728683986" sldId="4082"/>
            <ac:grpSpMk id="334" creationId="{857100B7-55E6-15AF-A3D9-BA0BFDB75328}"/>
          </ac:grpSpMkLst>
        </pc:grpChg>
        <pc:grpChg chg="add mod">
          <ac:chgData name="Rizky Fajar" userId="490a5c0ae4650a6d" providerId="LiveId" clId="{5666174E-1FDC-4381-AE72-96AAAE51F635}" dt="2025-02-18T11:29:24.038" v="28126" actId="1035"/>
          <ac:grpSpMkLst>
            <pc:docMk/>
            <pc:sldMk cId="1728683986" sldId="4082"/>
            <ac:grpSpMk id="337" creationId="{FE81F0EE-6C0D-A0E2-97CA-C54D9F989ACB}"/>
          </ac:grpSpMkLst>
        </pc:grpChg>
        <pc:grpChg chg="add mod">
          <ac:chgData name="Rizky Fajar" userId="490a5c0ae4650a6d" providerId="LiveId" clId="{5666174E-1FDC-4381-AE72-96AAAE51F635}" dt="2025-02-18T11:08:48.606" v="27604" actId="164"/>
          <ac:grpSpMkLst>
            <pc:docMk/>
            <pc:sldMk cId="1728683986" sldId="4082"/>
            <ac:grpSpMk id="338" creationId="{BD0DD624-8207-D114-AE75-AD3476B3E01C}"/>
          </ac:grpSpMkLst>
        </pc:grpChg>
        <pc:grpChg chg="add del mod">
          <ac:chgData name="Rizky Fajar" userId="490a5c0ae4650a6d" providerId="LiveId" clId="{5666174E-1FDC-4381-AE72-96AAAE51F635}" dt="2025-02-18T11:08:25.121" v="27595" actId="478"/>
          <ac:grpSpMkLst>
            <pc:docMk/>
            <pc:sldMk cId="1728683986" sldId="4082"/>
            <ac:grpSpMk id="339" creationId="{025DB1F6-6A00-0365-FFBA-9F6FD1023B87}"/>
          </ac:grpSpMkLst>
        </pc:grpChg>
        <pc:grpChg chg="add mod">
          <ac:chgData name="Rizky Fajar" userId="490a5c0ae4650a6d" providerId="LiveId" clId="{5666174E-1FDC-4381-AE72-96AAAE51F635}" dt="2025-02-18T11:29:24.038" v="28126" actId="1035"/>
          <ac:grpSpMkLst>
            <pc:docMk/>
            <pc:sldMk cId="1728683986" sldId="4082"/>
            <ac:grpSpMk id="344" creationId="{F2AE99C9-37D7-5A68-6B46-E6C8C00E8381}"/>
          </ac:grpSpMkLst>
        </pc:grpChg>
        <pc:grpChg chg="add del mod">
          <ac:chgData name="Rizky Fajar" userId="490a5c0ae4650a6d" providerId="LiveId" clId="{5666174E-1FDC-4381-AE72-96AAAE51F635}" dt="2025-02-18T11:21:10.601" v="27801" actId="21"/>
          <ac:grpSpMkLst>
            <pc:docMk/>
            <pc:sldMk cId="1728683986" sldId="4082"/>
            <ac:grpSpMk id="349" creationId="{22B7ECEE-51BC-21E9-26E7-F977705A7717}"/>
          </ac:grpSpMkLst>
        </pc:grpChg>
        <pc:grpChg chg="add del mod">
          <ac:chgData name="Rizky Fajar" userId="490a5c0ae4650a6d" providerId="LiveId" clId="{5666174E-1FDC-4381-AE72-96AAAE51F635}" dt="2025-02-18T11:22:36.960" v="27861" actId="478"/>
          <ac:grpSpMkLst>
            <pc:docMk/>
            <pc:sldMk cId="1728683986" sldId="4082"/>
            <ac:grpSpMk id="364" creationId="{22B7ECEE-51BC-21E9-26E7-F977705A7717}"/>
          </ac:grpSpMkLst>
        </pc:grpChg>
        <pc:grpChg chg="add del mod">
          <ac:chgData name="Rizky Fajar" userId="490a5c0ae4650a6d" providerId="LiveId" clId="{5666174E-1FDC-4381-AE72-96AAAE51F635}" dt="2025-02-18T11:21:22.179" v="27823" actId="478"/>
          <ac:grpSpMkLst>
            <pc:docMk/>
            <pc:sldMk cId="1728683986" sldId="4082"/>
            <ac:grpSpMk id="367" creationId="{C3B02C21-5CA1-C72E-2F17-CA99F68B2482}"/>
          </ac:grpSpMkLst>
        </pc:grpChg>
        <pc:grpChg chg="del mod ord topLvl">
          <ac:chgData name="Rizky Fajar" userId="490a5c0ae4650a6d" providerId="LiveId" clId="{5666174E-1FDC-4381-AE72-96AAAE51F635}" dt="2025-02-18T11:22:15.272" v="27850" actId="165"/>
          <ac:grpSpMkLst>
            <pc:docMk/>
            <pc:sldMk cId="1728683986" sldId="4082"/>
            <ac:grpSpMk id="368" creationId="{6741586C-0A7F-5B1B-8E80-65CC3D9EBCB6}"/>
          </ac:grpSpMkLst>
        </pc:grpChg>
        <pc:grpChg chg="add del mod">
          <ac:chgData name="Rizky Fajar" userId="490a5c0ae4650a6d" providerId="LiveId" clId="{5666174E-1FDC-4381-AE72-96AAAE51F635}" dt="2025-02-18T11:22:11.257" v="27849" actId="165"/>
          <ac:grpSpMkLst>
            <pc:docMk/>
            <pc:sldMk cId="1728683986" sldId="4082"/>
            <ac:grpSpMk id="374" creationId="{3C491691-2DFE-883F-49FD-8881893CE099}"/>
          </ac:grpSpMkLst>
        </pc:grpChg>
        <pc:grpChg chg="add mod">
          <ac:chgData name="Rizky Fajar" userId="490a5c0ae4650a6d" providerId="LiveId" clId="{5666174E-1FDC-4381-AE72-96AAAE51F635}" dt="2025-02-18T11:29:28.710" v="28128" actId="14100"/>
          <ac:grpSpMkLst>
            <pc:docMk/>
            <pc:sldMk cId="1728683986" sldId="4082"/>
            <ac:grpSpMk id="382" creationId="{7C08FBED-71D2-8453-FC04-6E55C98E9714}"/>
          </ac:grpSpMkLst>
        </pc:grpChg>
        <pc:grpChg chg="add del mod">
          <ac:chgData name="Rizky Fajar" userId="490a5c0ae4650a6d" providerId="LiveId" clId="{5666174E-1FDC-4381-AE72-96AAAE51F635}" dt="2025-02-18T11:32:43.288" v="28303" actId="165"/>
          <ac:grpSpMkLst>
            <pc:docMk/>
            <pc:sldMk cId="1728683986" sldId="4082"/>
            <ac:grpSpMk id="413" creationId="{15A240BB-2623-EBE1-6E81-8D5087CA5571}"/>
          </ac:grpSpMkLst>
        </pc:grpChg>
        <pc:grpChg chg="add mod">
          <ac:chgData name="Rizky Fajar" userId="490a5c0ae4650a6d" providerId="LiveId" clId="{5666174E-1FDC-4381-AE72-96AAAE51F635}" dt="2025-02-18T11:33:00.695" v="28319" actId="164"/>
          <ac:grpSpMkLst>
            <pc:docMk/>
            <pc:sldMk cId="1728683986" sldId="4082"/>
            <ac:grpSpMk id="415" creationId="{76780B11-3C99-5DF0-AC44-D075358CC12F}"/>
          </ac:grpSpMkLst>
        </pc:grpChg>
        <pc:picChg chg="add del mod">
          <ac:chgData name="Rizky Fajar" userId="490a5c0ae4650a6d" providerId="LiveId" clId="{5666174E-1FDC-4381-AE72-96AAAE51F635}" dt="2025-02-18T13:10:35.054" v="28720" actId="478"/>
          <ac:picMkLst>
            <pc:docMk/>
            <pc:sldMk cId="1728683986" sldId="4082"/>
            <ac:picMk id="35" creationId="{8BC0C4E8-C9E6-CC6B-CDE1-D293EFC71A9F}"/>
          </ac:picMkLst>
        </pc:picChg>
        <pc:picChg chg="del">
          <ac:chgData name="Rizky Fajar" userId="490a5c0ae4650a6d" providerId="LiveId" clId="{5666174E-1FDC-4381-AE72-96AAAE51F635}" dt="2025-02-18T10:14:26.022" v="25376" actId="478"/>
          <ac:picMkLst>
            <pc:docMk/>
            <pc:sldMk cId="1728683986" sldId="4082"/>
            <ac:picMk id="36" creationId="{459F61E0-296F-6F48-D244-E892CAE85809}"/>
          </ac:picMkLst>
        </pc:picChg>
        <pc:picChg chg="add del mod">
          <ac:chgData name="Rizky Fajar" userId="490a5c0ae4650a6d" providerId="LiveId" clId="{5666174E-1FDC-4381-AE72-96AAAE51F635}" dt="2025-02-18T10:25:58.382" v="25506" actId="478"/>
          <ac:picMkLst>
            <pc:docMk/>
            <pc:sldMk cId="1728683986" sldId="4082"/>
            <ac:picMk id="51" creationId="{E223DEBE-43CB-EFDA-6FF1-2AA08C4A17A2}"/>
          </ac:picMkLst>
        </pc:picChg>
        <pc:picChg chg="add mod">
          <ac:chgData name="Rizky Fajar" userId="490a5c0ae4650a6d" providerId="LiveId" clId="{5666174E-1FDC-4381-AE72-96AAAE51F635}" dt="2025-02-18T10:29:12.022" v="25618" actId="164"/>
          <ac:picMkLst>
            <pc:docMk/>
            <pc:sldMk cId="1728683986" sldId="4082"/>
            <ac:picMk id="55" creationId="{A105A082-E048-E43C-2300-835449E6E369}"/>
          </ac:picMkLst>
        </pc:picChg>
        <pc:picChg chg="add mod">
          <ac:chgData name="Rizky Fajar" userId="490a5c0ae4650a6d" providerId="LiveId" clId="{5666174E-1FDC-4381-AE72-96AAAE51F635}" dt="2025-02-18T10:29:39.345" v="25624" actId="164"/>
          <ac:picMkLst>
            <pc:docMk/>
            <pc:sldMk cId="1728683986" sldId="4082"/>
            <ac:picMk id="57" creationId="{A0595DB3-9FAD-F7AB-DF66-BDADE0B9489B}"/>
          </ac:picMkLst>
        </pc:picChg>
        <pc:picChg chg="add mod">
          <ac:chgData name="Rizky Fajar" userId="490a5c0ae4650a6d" providerId="LiveId" clId="{5666174E-1FDC-4381-AE72-96AAAE51F635}" dt="2025-02-18T10:29:34.158" v="25621" actId="164"/>
          <ac:picMkLst>
            <pc:docMk/>
            <pc:sldMk cId="1728683986" sldId="4082"/>
            <ac:picMk id="59" creationId="{64A3DEFE-0F85-5391-E323-1F82B11009A1}"/>
          </ac:picMkLst>
        </pc:picChg>
        <pc:picChg chg="add mod">
          <ac:chgData name="Rizky Fajar" userId="490a5c0ae4650a6d" providerId="LiveId" clId="{5666174E-1FDC-4381-AE72-96AAAE51F635}" dt="2025-02-18T10:29:30.611" v="25620" actId="164"/>
          <ac:picMkLst>
            <pc:docMk/>
            <pc:sldMk cId="1728683986" sldId="4082"/>
            <ac:picMk id="61" creationId="{89EB010B-415B-7908-9AC3-50127BF73348}"/>
          </ac:picMkLst>
        </pc:picChg>
        <pc:picChg chg="mod">
          <ac:chgData name="Rizky Fajar" userId="490a5c0ae4650a6d" providerId="LiveId" clId="{5666174E-1FDC-4381-AE72-96AAAE51F635}" dt="2025-02-18T10:30:37.236" v="25633" actId="571"/>
          <ac:picMkLst>
            <pc:docMk/>
            <pc:sldMk cId="1728683986" sldId="4082"/>
            <ac:picMk id="89" creationId="{E87AD2BA-C23E-4658-1A05-9E3B2C1FAAE4}"/>
          </ac:picMkLst>
        </pc:picChg>
        <pc:picChg chg="mod">
          <ac:chgData name="Rizky Fajar" userId="490a5c0ae4650a6d" providerId="LiveId" clId="{5666174E-1FDC-4381-AE72-96AAAE51F635}" dt="2025-02-18T10:33:15.680" v="25702" actId="571"/>
          <ac:picMkLst>
            <pc:docMk/>
            <pc:sldMk cId="1728683986" sldId="4082"/>
            <ac:picMk id="115" creationId="{06CEAB99-B8EC-F3FF-3229-6C8657B99204}"/>
          </ac:picMkLst>
        </pc:picChg>
        <pc:picChg chg="mod">
          <ac:chgData name="Rizky Fajar" userId="490a5c0ae4650a6d" providerId="LiveId" clId="{5666174E-1FDC-4381-AE72-96AAAE51F635}" dt="2025-02-18T10:33:15.680" v="25702" actId="571"/>
          <ac:picMkLst>
            <pc:docMk/>
            <pc:sldMk cId="1728683986" sldId="4082"/>
            <ac:picMk id="124" creationId="{79260596-5B4E-33B7-B8B4-5080977E473D}"/>
          </ac:picMkLst>
        </pc:picChg>
        <pc:picChg chg="mod">
          <ac:chgData name="Rizky Fajar" userId="490a5c0ae4650a6d" providerId="LiveId" clId="{5666174E-1FDC-4381-AE72-96AAAE51F635}" dt="2025-02-18T10:33:15.680" v="25702" actId="571"/>
          <ac:picMkLst>
            <pc:docMk/>
            <pc:sldMk cId="1728683986" sldId="4082"/>
            <ac:picMk id="129" creationId="{EF7A247A-33C9-4002-AD27-50EC3F017135}"/>
          </ac:picMkLst>
        </pc:picChg>
        <pc:picChg chg="mod">
          <ac:chgData name="Rizky Fajar" userId="490a5c0ae4650a6d" providerId="LiveId" clId="{5666174E-1FDC-4381-AE72-96AAAE51F635}" dt="2025-02-18T10:33:15.680" v="25702" actId="571"/>
          <ac:picMkLst>
            <pc:docMk/>
            <pc:sldMk cId="1728683986" sldId="4082"/>
            <ac:picMk id="132" creationId="{C87425FB-A1D3-6F0F-66CC-DFD72383DABD}"/>
          </ac:picMkLst>
        </pc:picChg>
        <pc:picChg chg="mod">
          <ac:chgData name="Rizky Fajar" userId="490a5c0ae4650a6d" providerId="LiveId" clId="{5666174E-1FDC-4381-AE72-96AAAE51F635}" dt="2025-02-18T10:33:15.399" v="25701" actId="571"/>
          <ac:picMkLst>
            <pc:docMk/>
            <pc:sldMk cId="1728683986" sldId="4082"/>
            <ac:picMk id="137" creationId="{B709B9C4-7FD7-1826-F908-2B0BB90532F0}"/>
          </ac:picMkLst>
        </pc:picChg>
        <pc:picChg chg="mod">
          <ac:chgData name="Rizky Fajar" userId="490a5c0ae4650a6d" providerId="LiveId" clId="{5666174E-1FDC-4381-AE72-96AAAE51F635}" dt="2025-02-18T10:33:15.399" v="25701" actId="571"/>
          <ac:picMkLst>
            <pc:docMk/>
            <pc:sldMk cId="1728683986" sldId="4082"/>
            <ac:picMk id="140" creationId="{0D7A43F0-548A-6FBE-075E-6553207BB36A}"/>
          </ac:picMkLst>
        </pc:picChg>
        <pc:picChg chg="mod">
          <ac:chgData name="Rizky Fajar" userId="490a5c0ae4650a6d" providerId="LiveId" clId="{5666174E-1FDC-4381-AE72-96AAAE51F635}" dt="2025-02-18T10:33:15.399" v="25701" actId="571"/>
          <ac:picMkLst>
            <pc:docMk/>
            <pc:sldMk cId="1728683986" sldId="4082"/>
            <ac:picMk id="143" creationId="{49ED6B8A-E272-F89D-B737-CE175094F185}"/>
          </ac:picMkLst>
        </pc:picChg>
        <pc:picChg chg="mod">
          <ac:chgData name="Rizky Fajar" userId="490a5c0ae4650a6d" providerId="LiveId" clId="{5666174E-1FDC-4381-AE72-96AAAE51F635}" dt="2025-02-18T10:33:15.399" v="25701" actId="571"/>
          <ac:picMkLst>
            <pc:docMk/>
            <pc:sldMk cId="1728683986" sldId="4082"/>
            <ac:picMk id="146" creationId="{DA12F023-3BE2-8351-C470-E0D84DFAD283}"/>
          </ac:picMkLst>
        </pc:picChg>
        <pc:picChg chg="mod">
          <ac:chgData name="Rizky Fajar" userId="490a5c0ae4650a6d" providerId="LiveId" clId="{5666174E-1FDC-4381-AE72-96AAAE51F635}" dt="2025-02-18T10:33:22.445" v="25706" actId="571"/>
          <ac:picMkLst>
            <pc:docMk/>
            <pc:sldMk cId="1728683986" sldId="4082"/>
            <ac:picMk id="156" creationId="{4B2B8557-FF3E-E88C-0A75-1F465754E339}"/>
          </ac:picMkLst>
        </pc:picChg>
        <pc:picChg chg="mod">
          <ac:chgData name="Rizky Fajar" userId="490a5c0ae4650a6d" providerId="LiveId" clId="{5666174E-1FDC-4381-AE72-96AAAE51F635}" dt="2025-02-18T10:33:22.445" v="25706" actId="571"/>
          <ac:picMkLst>
            <pc:docMk/>
            <pc:sldMk cId="1728683986" sldId="4082"/>
            <ac:picMk id="158" creationId="{E437569E-95BD-B9BD-189B-72068B6D0113}"/>
          </ac:picMkLst>
        </pc:picChg>
        <pc:picChg chg="mod">
          <ac:chgData name="Rizky Fajar" userId="490a5c0ae4650a6d" providerId="LiveId" clId="{5666174E-1FDC-4381-AE72-96AAAE51F635}" dt="2025-02-18T10:33:22.445" v="25706" actId="571"/>
          <ac:picMkLst>
            <pc:docMk/>
            <pc:sldMk cId="1728683986" sldId="4082"/>
            <ac:picMk id="160" creationId="{C905B20F-9AC0-B5C5-ABA1-A6A000F333F3}"/>
          </ac:picMkLst>
        </pc:picChg>
        <pc:picChg chg="mod">
          <ac:chgData name="Rizky Fajar" userId="490a5c0ae4650a6d" providerId="LiveId" clId="{5666174E-1FDC-4381-AE72-96AAAE51F635}" dt="2025-02-18T10:33:22.445" v="25706" actId="571"/>
          <ac:picMkLst>
            <pc:docMk/>
            <pc:sldMk cId="1728683986" sldId="4082"/>
            <ac:picMk id="162" creationId="{E5F2FBB5-3532-BFC7-13B1-38358CCC0C35}"/>
          </ac:picMkLst>
        </pc:picChg>
        <pc:picChg chg="mod">
          <ac:chgData name="Rizky Fajar" userId="490a5c0ae4650a6d" providerId="LiveId" clId="{5666174E-1FDC-4381-AE72-96AAAE51F635}" dt="2025-02-18T10:35:30.303" v="25862" actId="571"/>
          <ac:picMkLst>
            <pc:docMk/>
            <pc:sldMk cId="1728683986" sldId="4082"/>
            <ac:picMk id="172" creationId="{035FE457-D4E2-5AF3-6005-0ADE69CDD33A}"/>
          </ac:picMkLst>
        </pc:picChg>
        <pc:picChg chg="mod">
          <ac:chgData name="Rizky Fajar" userId="490a5c0ae4650a6d" providerId="LiveId" clId="{5666174E-1FDC-4381-AE72-96AAAE51F635}" dt="2025-02-18T10:35:30.303" v="25862" actId="571"/>
          <ac:picMkLst>
            <pc:docMk/>
            <pc:sldMk cId="1728683986" sldId="4082"/>
            <ac:picMk id="176" creationId="{CDC7A446-F482-A694-7125-ADD1C3EEE708}"/>
          </ac:picMkLst>
        </pc:picChg>
        <pc:picChg chg="mod">
          <ac:chgData name="Rizky Fajar" userId="490a5c0ae4650a6d" providerId="LiveId" clId="{5666174E-1FDC-4381-AE72-96AAAE51F635}" dt="2025-02-18T10:35:30.303" v="25862" actId="571"/>
          <ac:picMkLst>
            <pc:docMk/>
            <pc:sldMk cId="1728683986" sldId="4082"/>
            <ac:picMk id="178" creationId="{6179327E-40A3-9139-5F5B-AF44564E5FAE}"/>
          </ac:picMkLst>
        </pc:picChg>
        <pc:picChg chg="mod">
          <ac:chgData name="Rizky Fajar" userId="490a5c0ae4650a6d" providerId="LiveId" clId="{5666174E-1FDC-4381-AE72-96AAAE51F635}" dt="2025-02-18T10:37:57.351" v="26007" actId="165"/>
          <ac:picMkLst>
            <pc:docMk/>
            <pc:sldMk cId="1728683986" sldId="4082"/>
            <ac:picMk id="188" creationId="{72EB8999-A41A-A0B5-C386-EBF40F258482}"/>
          </ac:picMkLst>
        </pc:picChg>
        <pc:picChg chg="mod">
          <ac:chgData name="Rizky Fajar" userId="490a5c0ae4650a6d" providerId="LiveId" clId="{5666174E-1FDC-4381-AE72-96AAAE51F635}" dt="2025-02-18T11:16:48.755" v="27737" actId="1076"/>
          <ac:picMkLst>
            <pc:docMk/>
            <pc:sldMk cId="1728683986" sldId="4082"/>
            <ac:picMk id="190" creationId="{AF9B596D-FE63-351A-8523-FCF69E834EAB}"/>
          </ac:picMkLst>
        </pc:picChg>
        <pc:picChg chg="mod">
          <ac:chgData name="Rizky Fajar" userId="490a5c0ae4650a6d" providerId="LiveId" clId="{5666174E-1FDC-4381-AE72-96AAAE51F635}" dt="2025-02-18T10:37:57.351" v="26007" actId="165"/>
          <ac:picMkLst>
            <pc:docMk/>
            <pc:sldMk cId="1728683986" sldId="4082"/>
            <ac:picMk id="192" creationId="{523F11CE-ACF8-8166-84AB-C60EE7EC6D4F}"/>
          </ac:picMkLst>
        </pc:picChg>
        <pc:picChg chg="del mod">
          <ac:chgData name="Rizky Fajar" userId="490a5c0ae4650a6d" providerId="LiveId" clId="{5666174E-1FDC-4381-AE72-96AAAE51F635}" dt="2025-02-18T10:37:33.288" v="25976" actId="478"/>
          <ac:picMkLst>
            <pc:docMk/>
            <pc:sldMk cId="1728683986" sldId="4082"/>
            <ac:picMk id="194" creationId="{0A9B630E-172F-ED6C-9062-780C7F7B4D32}"/>
          </ac:picMkLst>
        </pc:picChg>
        <pc:picChg chg="del mod">
          <ac:chgData name="Rizky Fajar" userId="490a5c0ae4650a6d" providerId="LiveId" clId="{5666174E-1FDC-4381-AE72-96AAAE51F635}" dt="2025-02-18T11:23:55.494" v="27926" actId="478"/>
          <ac:picMkLst>
            <pc:docMk/>
            <pc:sldMk cId="1728683986" sldId="4082"/>
            <ac:picMk id="204" creationId="{87F3213D-3876-4BDF-A13E-4A33F1E46617}"/>
          </ac:picMkLst>
        </pc:picChg>
        <pc:picChg chg="del mod">
          <ac:chgData name="Rizky Fajar" userId="490a5c0ae4650a6d" providerId="LiveId" clId="{5666174E-1FDC-4381-AE72-96AAAE51F635}" dt="2025-02-18T11:23:53.195" v="27925" actId="478"/>
          <ac:picMkLst>
            <pc:docMk/>
            <pc:sldMk cId="1728683986" sldId="4082"/>
            <ac:picMk id="206" creationId="{63F862E4-B60C-9839-695B-19108284E3D2}"/>
          </ac:picMkLst>
        </pc:picChg>
        <pc:picChg chg="mod">
          <ac:chgData name="Rizky Fajar" userId="490a5c0ae4650a6d" providerId="LiveId" clId="{5666174E-1FDC-4381-AE72-96AAAE51F635}" dt="2025-02-18T11:23:59.539" v="27927" actId="1076"/>
          <ac:picMkLst>
            <pc:docMk/>
            <pc:sldMk cId="1728683986" sldId="4082"/>
            <ac:picMk id="208" creationId="{5129DA9B-16B3-CC2C-CE8C-5FA66982E6E3}"/>
          </ac:picMkLst>
        </pc:picChg>
        <pc:picChg chg="mod">
          <ac:chgData name="Rizky Fajar" userId="490a5c0ae4650a6d" providerId="LiveId" clId="{5666174E-1FDC-4381-AE72-96AAAE51F635}" dt="2025-02-18T11:24:03.461" v="27928" actId="1076"/>
          <ac:picMkLst>
            <pc:docMk/>
            <pc:sldMk cId="1728683986" sldId="4082"/>
            <ac:picMk id="210" creationId="{0A0C38E4-04EF-6949-B1F7-6309324B48C6}"/>
          </ac:picMkLst>
        </pc:picChg>
        <pc:picChg chg="add mod topLvl">
          <ac:chgData name="Rizky Fajar" userId="490a5c0ae4650a6d" providerId="LiveId" clId="{5666174E-1FDC-4381-AE72-96AAAE51F635}" dt="2025-02-18T11:07:41.793" v="27557" actId="1076"/>
          <ac:picMkLst>
            <pc:docMk/>
            <pc:sldMk cId="1728683986" sldId="4082"/>
            <ac:picMk id="248" creationId="{13B3DA5B-4D21-C517-8E18-17B4B180518A}"/>
          </ac:picMkLst>
        </pc:picChg>
        <pc:picChg chg="mod ord topLvl">
          <ac:chgData name="Rizky Fajar" userId="490a5c0ae4650a6d" providerId="LiveId" clId="{5666174E-1FDC-4381-AE72-96AAAE51F635}" dt="2025-02-18T11:19:04.663" v="27783" actId="1038"/>
          <ac:picMkLst>
            <pc:docMk/>
            <pc:sldMk cId="1728683986" sldId="4082"/>
            <ac:picMk id="253" creationId="{D73D5281-F0DD-6C4E-BFCA-89EDFEDB6DD9}"/>
          </ac:picMkLst>
        </pc:picChg>
        <pc:picChg chg="mod">
          <ac:chgData name="Rizky Fajar" userId="490a5c0ae4650a6d" providerId="LiveId" clId="{5666174E-1FDC-4381-AE72-96AAAE51F635}" dt="2025-02-18T10:53:33.627" v="26724"/>
          <ac:picMkLst>
            <pc:docMk/>
            <pc:sldMk cId="1728683986" sldId="4082"/>
            <ac:picMk id="257" creationId="{9EAF8190-9E12-0D23-5744-4565747F0045}"/>
          </ac:picMkLst>
        </pc:picChg>
        <pc:picChg chg="add mod">
          <ac:chgData name="Rizky Fajar" userId="490a5c0ae4650a6d" providerId="LiveId" clId="{5666174E-1FDC-4381-AE72-96AAAE51F635}" dt="2025-02-18T11:12:22.556" v="27669" actId="1076"/>
          <ac:picMkLst>
            <pc:docMk/>
            <pc:sldMk cId="1728683986" sldId="4082"/>
            <ac:picMk id="263" creationId="{8D0B89D7-FA07-8AFB-7EC8-DEF1B4306781}"/>
          </ac:picMkLst>
        </pc:picChg>
        <pc:picChg chg="del mod topLvl">
          <ac:chgData name="Rizky Fajar" userId="490a5c0ae4650a6d" providerId="LiveId" clId="{5666174E-1FDC-4381-AE72-96AAAE51F635}" dt="2025-02-18T11:01:10.691" v="27398" actId="478"/>
          <ac:picMkLst>
            <pc:docMk/>
            <pc:sldMk cId="1728683986" sldId="4082"/>
            <ac:picMk id="278" creationId="{A4831163-3368-AF40-0F4C-B4C5F852182A}"/>
          </ac:picMkLst>
        </pc:picChg>
        <pc:picChg chg="add mod topLvl">
          <ac:chgData name="Rizky Fajar" userId="490a5c0ae4650a6d" providerId="LiveId" clId="{5666174E-1FDC-4381-AE72-96AAAE51F635}" dt="2025-02-18T11:04:38.519" v="27480" actId="164"/>
          <ac:picMkLst>
            <pc:docMk/>
            <pc:sldMk cId="1728683986" sldId="4082"/>
            <ac:picMk id="286" creationId="{727F7D65-1D3D-3F92-B3B1-ECEB6154607C}"/>
          </ac:picMkLst>
        </pc:picChg>
        <pc:picChg chg="mod">
          <ac:chgData name="Rizky Fajar" userId="490a5c0ae4650a6d" providerId="LiveId" clId="{5666174E-1FDC-4381-AE72-96AAAE51F635}" dt="2025-02-18T11:03:22.784" v="27453" actId="571"/>
          <ac:picMkLst>
            <pc:docMk/>
            <pc:sldMk cId="1728683986" sldId="4082"/>
            <ac:picMk id="297" creationId="{9B7D9CE3-023A-BA4F-92A8-51D0741B2472}"/>
          </ac:picMkLst>
        </pc:picChg>
        <pc:picChg chg="del mod">
          <ac:chgData name="Rizky Fajar" userId="490a5c0ae4650a6d" providerId="LiveId" clId="{5666174E-1FDC-4381-AE72-96AAAE51F635}" dt="2025-02-18T11:05:32.411" v="27511" actId="478"/>
          <ac:picMkLst>
            <pc:docMk/>
            <pc:sldMk cId="1728683986" sldId="4082"/>
            <ac:picMk id="310" creationId="{C849BD9D-357B-F843-9462-93AA354A018E}"/>
          </ac:picMkLst>
        </pc:picChg>
        <pc:picChg chg="add del mod">
          <ac:chgData name="Rizky Fajar" userId="490a5c0ae4650a6d" providerId="LiveId" clId="{5666174E-1FDC-4381-AE72-96AAAE51F635}" dt="2025-02-18T11:08:56.356" v="27608" actId="478"/>
          <ac:picMkLst>
            <pc:docMk/>
            <pc:sldMk cId="1728683986" sldId="4082"/>
            <ac:picMk id="311" creationId="{8D251F6F-688A-5A4F-1E98-99B6E2743361}"/>
          </ac:picMkLst>
        </pc:picChg>
        <pc:picChg chg="mod">
          <ac:chgData name="Rizky Fajar" userId="490a5c0ae4650a6d" providerId="LiveId" clId="{5666174E-1FDC-4381-AE72-96AAAE51F635}" dt="2025-02-18T11:08:04.793" v="27566" actId="571"/>
          <ac:picMkLst>
            <pc:docMk/>
            <pc:sldMk cId="1728683986" sldId="4082"/>
            <ac:picMk id="336" creationId="{F55A7EEB-4A06-425A-4517-745198253A1C}"/>
          </ac:picMkLst>
        </pc:picChg>
        <pc:picChg chg="del mod">
          <ac:chgData name="Rizky Fajar" userId="490a5c0ae4650a6d" providerId="LiveId" clId="{5666174E-1FDC-4381-AE72-96AAAE51F635}" dt="2025-02-18T11:08:25.121" v="27595" actId="478"/>
          <ac:picMkLst>
            <pc:docMk/>
            <pc:sldMk cId="1728683986" sldId="4082"/>
            <ac:picMk id="342" creationId="{4A61739B-197E-2200-CE3E-6FC36E35A1D0}"/>
          </ac:picMkLst>
        </pc:picChg>
        <pc:picChg chg="add mod">
          <ac:chgData name="Rizky Fajar" userId="490a5c0ae4650a6d" providerId="LiveId" clId="{5666174E-1FDC-4381-AE72-96AAAE51F635}" dt="2025-02-18T11:08:48.606" v="27604" actId="164"/>
          <ac:picMkLst>
            <pc:docMk/>
            <pc:sldMk cId="1728683986" sldId="4082"/>
            <ac:picMk id="343" creationId="{5051B477-A5EB-9D44-33EB-8DDD1701C9DC}"/>
          </ac:picMkLst>
        </pc:picChg>
        <pc:picChg chg="add del mod">
          <ac:chgData name="Rizky Fajar" userId="490a5c0ae4650a6d" providerId="LiveId" clId="{5666174E-1FDC-4381-AE72-96AAAE51F635}" dt="2025-02-18T11:09:10.664" v="27636" actId="478"/>
          <ac:picMkLst>
            <pc:docMk/>
            <pc:sldMk cId="1728683986" sldId="4082"/>
            <ac:picMk id="347" creationId="{57FB2FC4-278C-B78D-40E9-F8BA134B7396}"/>
          </ac:picMkLst>
        </pc:picChg>
        <pc:picChg chg="add mod">
          <ac:chgData name="Rizky Fajar" userId="490a5c0ae4650a6d" providerId="LiveId" clId="{5666174E-1FDC-4381-AE72-96AAAE51F635}" dt="2025-02-18T11:20:42.554" v="27797" actId="208"/>
          <ac:picMkLst>
            <pc:docMk/>
            <pc:sldMk cId="1728683986" sldId="4082"/>
            <ac:picMk id="348" creationId="{82CC0766-0312-8151-BDCB-31AEA2F32E68}"/>
          </ac:picMkLst>
        </pc:picChg>
        <pc:picChg chg="mod">
          <ac:chgData name="Rizky Fajar" userId="490a5c0ae4650a6d" providerId="LiveId" clId="{5666174E-1FDC-4381-AE72-96AAAE51F635}" dt="2025-02-18T11:21:29.322" v="27827" actId="571"/>
          <ac:picMkLst>
            <pc:docMk/>
            <pc:sldMk cId="1728683986" sldId="4082"/>
            <ac:picMk id="366" creationId="{82CC0766-0312-8151-BDCB-31AEA2F32E68}"/>
          </ac:picMkLst>
        </pc:picChg>
        <pc:picChg chg="del mod topLvl">
          <ac:chgData name="Rizky Fajar" userId="490a5c0ae4650a6d" providerId="LiveId" clId="{5666174E-1FDC-4381-AE72-96AAAE51F635}" dt="2025-02-18T11:21:22.179" v="27823" actId="478"/>
          <ac:picMkLst>
            <pc:docMk/>
            <pc:sldMk cId="1728683986" sldId="4082"/>
            <ac:picMk id="369" creationId="{E9141E35-D096-25FC-C7E5-DE63E9B719DA}"/>
          </ac:picMkLst>
        </pc:picChg>
        <pc:picChg chg="add mod">
          <ac:chgData name="Rizky Fajar" userId="490a5c0ae4650a6d" providerId="LiveId" clId="{5666174E-1FDC-4381-AE72-96AAAE51F635}" dt="2025-02-18T11:21:29.322" v="27827" actId="571"/>
          <ac:picMkLst>
            <pc:docMk/>
            <pc:sldMk cId="1728683986" sldId="4082"/>
            <ac:picMk id="372" creationId="{A6F3B642-9A4E-DF57-9F4D-7A99A4777B5C}"/>
          </ac:picMkLst>
        </pc:picChg>
        <pc:picChg chg="add mod ord topLvl">
          <ac:chgData name="Rizky Fajar" userId="490a5c0ae4650a6d" providerId="LiveId" clId="{5666174E-1FDC-4381-AE72-96AAAE51F635}" dt="2025-02-18T11:22:35.101" v="27860" actId="164"/>
          <ac:picMkLst>
            <pc:docMk/>
            <pc:sldMk cId="1728683986" sldId="4082"/>
            <ac:picMk id="373" creationId="{57B3C538-B953-F714-F6E6-7FE6F84B53C2}"/>
          </ac:picMkLst>
        </pc:picChg>
        <pc:picChg chg="add mod">
          <ac:chgData name="Rizky Fajar" userId="490a5c0ae4650a6d" providerId="LiveId" clId="{5666174E-1FDC-4381-AE72-96AAAE51F635}" dt="2025-02-18T11:28:48.867" v="28109" actId="1076"/>
          <ac:picMkLst>
            <pc:docMk/>
            <pc:sldMk cId="1728683986" sldId="4082"/>
            <ac:picMk id="386" creationId="{FE8496CD-26C1-6023-9092-C9944C28E0B0}"/>
          </ac:picMkLst>
        </pc:picChg>
        <pc:picChg chg="add mod">
          <ac:chgData name="Rizky Fajar" userId="490a5c0ae4650a6d" providerId="LiveId" clId="{5666174E-1FDC-4381-AE72-96AAAE51F635}" dt="2025-02-18T11:28:48.867" v="28109" actId="1076"/>
          <ac:picMkLst>
            <pc:docMk/>
            <pc:sldMk cId="1728683986" sldId="4082"/>
            <ac:picMk id="387" creationId="{1486789F-2665-988C-C0DF-CFC40F7C710E}"/>
          </ac:picMkLst>
        </pc:picChg>
        <pc:picChg chg="add mod">
          <ac:chgData name="Rizky Fajar" userId="490a5c0ae4650a6d" providerId="LiveId" clId="{5666174E-1FDC-4381-AE72-96AAAE51F635}" dt="2025-02-18T11:28:48.867" v="28109" actId="1076"/>
          <ac:picMkLst>
            <pc:docMk/>
            <pc:sldMk cId="1728683986" sldId="4082"/>
            <ac:picMk id="388" creationId="{81F76AD3-A0D0-12FA-E3F7-FD2FE64CC3DA}"/>
          </ac:picMkLst>
        </pc:picChg>
        <pc:picChg chg="add mod">
          <ac:chgData name="Rizky Fajar" userId="490a5c0ae4650a6d" providerId="LiveId" clId="{5666174E-1FDC-4381-AE72-96AAAE51F635}" dt="2025-02-18T13:01:55.148" v="28671" actId="1076"/>
          <ac:picMkLst>
            <pc:docMk/>
            <pc:sldMk cId="1728683986" sldId="4082"/>
            <ac:picMk id="416" creationId="{5E9603AF-3308-EF07-1741-701E08444E01}"/>
          </ac:picMkLst>
        </pc:picChg>
        <pc:cxnChg chg="add mod">
          <ac:chgData name="Rizky Fajar" userId="490a5c0ae4650a6d" providerId="LiveId" clId="{5666174E-1FDC-4381-AE72-96AAAE51F635}" dt="2025-02-18T11:25:46.469" v="28051" actId="14100"/>
          <ac:cxnSpMkLst>
            <pc:docMk/>
            <pc:sldMk cId="1728683986" sldId="4082"/>
            <ac:cxnSpMk id="18" creationId="{15625BD3-EBDD-703B-7031-00FD57B8FF9E}"/>
          </ac:cxnSpMkLst>
        </pc:cxnChg>
        <pc:cxnChg chg="del">
          <ac:chgData name="Rizky Fajar" userId="490a5c0ae4650a6d" providerId="LiveId" clId="{5666174E-1FDC-4381-AE72-96AAAE51F635}" dt="2025-02-18T10:12:37.320" v="25367" actId="478"/>
          <ac:cxnSpMkLst>
            <pc:docMk/>
            <pc:sldMk cId="1728683986" sldId="4082"/>
            <ac:cxnSpMk id="125" creationId="{DAFA1FB9-04F6-0ED6-1850-E2ADCFDA68FA}"/>
          </ac:cxnSpMkLst>
        </pc:cxnChg>
        <pc:cxnChg chg="add del mod">
          <ac:chgData name="Rizky Fajar" userId="490a5c0ae4650a6d" providerId="LiveId" clId="{5666174E-1FDC-4381-AE72-96AAAE51F635}" dt="2025-02-18T10:43:24.821" v="26326" actId="478"/>
          <ac:cxnSpMkLst>
            <pc:docMk/>
            <pc:sldMk cId="1728683986" sldId="4082"/>
            <ac:cxnSpMk id="218" creationId="{E56A6605-2B06-BF48-23CE-98335BE304E1}"/>
          </ac:cxnSpMkLst>
        </pc:cxnChg>
        <pc:cxnChg chg="add mod">
          <ac:chgData name="Rizky Fajar" userId="490a5c0ae4650a6d" providerId="LiveId" clId="{5666174E-1FDC-4381-AE72-96AAAE51F635}" dt="2025-02-18T11:19:49.726" v="27787" actId="14100"/>
          <ac:cxnSpMkLst>
            <pc:docMk/>
            <pc:sldMk cId="1728683986" sldId="4082"/>
            <ac:cxnSpMk id="220" creationId="{B4DDF229-FBDA-ECCF-6AC3-3F5AFD48A2FE}"/>
          </ac:cxnSpMkLst>
        </pc:cxnChg>
        <pc:cxnChg chg="add mod">
          <ac:chgData name="Rizky Fajar" userId="490a5c0ae4650a6d" providerId="LiveId" clId="{5666174E-1FDC-4381-AE72-96AAAE51F635}" dt="2025-02-18T11:19:49.726" v="27787" actId="14100"/>
          <ac:cxnSpMkLst>
            <pc:docMk/>
            <pc:sldMk cId="1728683986" sldId="4082"/>
            <ac:cxnSpMk id="223" creationId="{A2D5C59F-C873-88E2-376B-4C5BC229FEC8}"/>
          </ac:cxnSpMkLst>
        </pc:cxnChg>
        <pc:cxnChg chg="add mod">
          <ac:chgData name="Rizky Fajar" userId="490a5c0ae4650a6d" providerId="LiveId" clId="{5666174E-1FDC-4381-AE72-96AAAE51F635}" dt="2025-02-18T11:03:46.816" v="27465" actId="1037"/>
          <ac:cxnSpMkLst>
            <pc:docMk/>
            <pc:sldMk cId="1728683986" sldId="4082"/>
            <ac:cxnSpMk id="227" creationId="{6F435C16-7D39-5B46-10A4-9D1ACBD44128}"/>
          </ac:cxnSpMkLst>
        </pc:cxnChg>
        <pc:cxnChg chg="add mod">
          <ac:chgData name="Rizky Fajar" userId="490a5c0ae4650a6d" providerId="LiveId" clId="{5666174E-1FDC-4381-AE72-96AAAE51F635}" dt="2025-02-18T11:03:46.816" v="27465" actId="1037"/>
          <ac:cxnSpMkLst>
            <pc:docMk/>
            <pc:sldMk cId="1728683986" sldId="4082"/>
            <ac:cxnSpMk id="231" creationId="{E37CE65F-EFBF-C7D1-006F-A3834D5436CE}"/>
          </ac:cxnSpMkLst>
        </pc:cxnChg>
        <pc:cxnChg chg="add mod">
          <ac:chgData name="Rizky Fajar" userId="490a5c0ae4650a6d" providerId="LiveId" clId="{5666174E-1FDC-4381-AE72-96AAAE51F635}" dt="2025-02-18T11:29:24.038" v="28126" actId="1035"/>
          <ac:cxnSpMkLst>
            <pc:docMk/>
            <pc:sldMk cId="1728683986" sldId="4082"/>
            <ac:cxnSpMk id="242" creationId="{8FB384FA-982E-8847-52D1-DA88947520A4}"/>
          </ac:cxnSpMkLst>
        </pc:cxnChg>
        <pc:cxnChg chg="add mod">
          <ac:chgData name="Rizky Fajar" userId="490a5c0ae4650a6d" providerId="LiveId" clId="{5666174E-1FDC-4381-AE72-96AAAE51F635}" dt="2025-02-18T11:29:24.038" v="28126" actId="1035"/>
          <ac:cxnSpMkLst>
            <pc:docMk/>
            <pc:sldMk cId="1728683986" sldId="4082"/>
            <ac:cxnSpMk id="266" creationId="{FDB021AD-D33E-4DF6-5E07-D5532843F7C5}"/>
          </ac:cxnSpMkLst>
        </pc:cxnChg>
        <pc:cxnChg chg="add mod">
          <ac:chgData name="Rizky Fajar" userId="490a5c0ae4650a6d" providerId="LiveId" clId="{5666174E-1FDC-4381-AE72-96AAAE51F635}" dt="2025-02-18T11:29:24.038" v="28126" actId="1035"/>
          <ac:cxnSpMkLst>
            <pc:docMk/>
            <pc:sldMk cId="1728683986" sldId="4082"/>
            <ac:cxnSpMk id="270" creationId="{B20F0C4C-1099-02D2-1FC6-20C7686B6A5B}"/>
          </ac:cxnSpMkLst>
        </pc:cxnChg>
        <pc:cxnChg chg="add del mod">
          <ac:chgData name="Rizky Fajar" userId="490a5c0ae4650a6d" providerId="LiveId" clId="{5666174E-1FDC-4381-AE72-96AAAE51F635}" dt="2025-02-18T11:00:57.269" v="27391" actId="478"/>
          <ac:cxnSpMkLst>
            <pc:docMk/>
            <pc:sldMk cId="1728683986" sldId="4082"/>
            <ac:cxnSpMk id="273" creationId="{DF5A2733-7D3E-F798-D6C8-2DC258FAD95B}"/>
          </ac:cxnSpMkLst>
        </pc:cxnChg>
        <pc:cxnChg chg="add mod">
          <ac:chgData name="Rizky Fajar" userId="490a5c0ae4650a6d" providerId="LiveId" clId="{5666174E-1FDC-4381-AE72-96AAAE51F635}" dt="2025-02-18T11:05:56.442" v="27520" actId="478"/>
          <ac:cxnSpMkLst>
            <pc:docMk/>
            <pc:sldMk cId="1728683986" sldId="4082"/>
            <ac:cxnSpMk id="279" creationId="{F3C09AA3-8565-3E7A-720E-55D3000D5985}"/>
          </ac:cxnSpMkLst>
        </pc:cxnChg>
        <pc:cxnChg chg="add mod">
          <ac:chgData name="Rizky Fajar" userId="490a5c0ae4650a6d" providerId="LiveId" clId="{5666174E-1FDC-4381-AE72-96AAAE51F635}" dt="2025-02-18T11:29:32.023" v="28129" actId="14100"/>
          <ac:cxnSpMkLst>
            <pc:docMk/>
            <pc:sldMk cId="1728683986" sldId="4082"/>
            <ac:cxnSpMk id="304" creationId="{635171EC-9EEA-FF07-6D93-B555AB1224DC}"/>
          </ac:cxnSpMkLst>
        </pc:cxnChg>
        <pc:cxnChg chg="add mod">
          <ac:chgData name="Rizky Fajar" userId="490a5c0ae4650a6d" providerId="LiveId" clId="{5666174E-1FDC-4381-AE72-96AAAE51F635}" dt="2025-02-18T11:29:32.023" v="28129" actId="14100"/>
          <ac:cxnSpMkLst>
            <pc:docMk/>
            <pc:sldMk cId="1728683986" sldId="4082"/>
            <ac:cxnSpMk id="352" creationId="{392680B5-5267-9201-F2EC-B2810A0F9F14}"/>
          </ac:cxnSpMkLst>
        </pc:cxnChg>
        <pc:cxnChg chg="add mod">
          <ac:chgData name="Rizky Fajar" userId="490a5c0ae4650a6d" providerId="LiveId" clId="{5666174E-1FDC-4381-AE72-96AAAE51F635}" dt="2025-02-18T11:30:11.710" v="28142" actId="571"/>
          <ac:cxnSpMkLst>
            <pc:docMk/>
            <pc:sldMk cId="1728683986" sldId="4082"/>
            <ac:cxnSpMk id="391" creationId="{B1A59CA8-F08C-9695-8B6A-20AAE24F7D5A}"/>
          </ac:cxnSpMkLst>
        </pc:cxnChg>
        <pc:cxnChg chg="add del mod">
          <ac:chgData name="Rizky Fajar" userId="490a5c0ae4650a6d" providerId="LiveId" clId="{5666174E-1FDC-4381-AE72-96AAAE51F635}" dt="2025-02-18T11:30:50.398" v="28162" actId="478"/>
          <ac:cxnSpMkLst>
            <pc:docMk/>
            <pc:sldMk cId="1728683986" sldId="4082"/>
            <ac:cxnSpMk id="395" creationId="{2594EC4D-17A4-A452-CBB6-648B54A9EB0C}"/>
          </ac:cxnSpMkLst>
        </pc:cxnChg>
        <pc:cxnChg chg="add mod ord topLvl">
          <ac:chgData name="Rizky Fajar" userId="490a5c0ae4650a6d" providerId="LiveId" clId="{5666174E-1FDC-4381-AE72-96AAAE51F635}" dt="2025-02-18T11:33:00.695" v="28319" actId="164"/>
          <ac:cxnSpMkLst>
            <pc:docMk/>
            <pc:sldMk cId="1728683986" sldId="4082"/>
            <ac:cxnSpMk id="401" creationId="{4B5DA84D-01A0-5061-1DD3-11106251BB1F}"/>
          </ac:cxnSpMkLst>
        </pc:cxnChg>
        <pc:cxnChg chg="add mod topLvl">
          <ac:chgData name="Rizky Fajar" userId="490a5c0ae4650a6d" providerId="LiveId" clId="{5666174E-1FDC-4381-AE72-96AAAE51F635}" dt="2025-02-18T11:33:00.695" v="28319" actId="164"/>
          <ac:cxnSpMkLst>
            <pc:docMk/>
            <pc:sldMk cId="1728683986" sldId="4082"/>
            <ac:cxnSpMk id="408" creationId="{FEE74313-80FA-1642-5944-872979B91C25}"/>
          </ac:cxnSpMkLst>
        </pc:cxnChg>
      </pc:sldChg>
      <pc:sldChg chg="add del">
        <pc:chgData name="Rizky Fajar" userId="490a5c0ae4650a6d" providerId="LiveId" clId="{5666174E-1FDC-4381-AE72-96AAAE51F635}" dt="2025-02-18T06:03:17.424" v="21600" actId="47"/>
        <pc:sldMkLst>
          <pc:docMk/>
          <pc:sldMk cId="4171017924" sldId="4082"/>
        </pc:sldMkLst>
      </pc:sldChg>
      <pc:sldChg chg="addSp delSp modSp add mod">
        <pc:chgData name="Rizky Fajar" userId="490a5c0ae4650a6d" providerId="LiveId" clId="{5666174E-1FDC-4381-AE72-96AAAE51F635}" dt="2025-02-19T13:27:59.939" v="32237"/>
        <pc:sldMkLst>
          <pc:docMk/>
          <pc:sldMk cId="3289195861" sldId="4083"/>
        </pc:sldMkLst>
        <pc:spChg chg="add del mod">
          <ac:chgData name="Rizky Fajar" userId="490a5c0ae4650a6d" providerId="LiveId" clId="{5666174E-1FDC-4381-AE72-96AAAE51F635}" dt="2025-02-18T14:12:41.852" v="30808" actId="207"/>
          <ac:spMkLst>
            <pc:docMk/>
            <pc:sldMk cId="3289195861" sldId="4083"/>
            <ac:spMk id="7" creationId="{33010AA8-8179-B6B1-1950-837EF4021628}"/>
          </ac:spMkLst>
        </pc:spChg>
        <pc:spChg chg="add mod">
          <ac:chgData name="Rizky Fajar" userId="490a5c0ae4650a6d" providerId="LiveId" clId="{5666174E-1FDC-4381-AE72-96AAAE51F635}" dt="2025-02-18T14:20:13.804" v="30984" actId="1038"/>
          <ac:spMkLst>
            <pc:docMk/>
            <pc:sldMk cId="3289195861" sldId="4083"/>
            <ac:spMk id="10" creationId="{34946A2C-988F-526C-F753-98B03DDC89E8}"/>
          </ac:spMkLst>
        </pc:spChg>
        <pc:spChg chg="mod">
          <ac:chgData name="Rizky Fajar" userId="490a5c0ae4650a6d" providerId="LiveId" clId="{5666174E-1FDC-4381-AE72-96AAAE51F635}" dt="2025-02-18T14:12:35.960" v="30806" actId="1076"/>
          <ac:spMkLst>
            <pc:docMk/>
            <pc:sldMk cId="3289195861" sldId="4083"/>
            <ac:spMk id="13" creationId="{6CB54423-23CD-FA58-671C-D3DF15EA2D26}"/>
          </ac:spMkLst>
        </pc:spChg>
        <pc:spChg chg="mod">
          <ac:chgData name="Rizky Fajar" userId="490a5c0ae4650a6d" providerId="LiveId" clId="{5666174E-1FDC-4381-AE72-96AAAE51F635}" dt="2025-02-19T13:27:59.939" v="32237"/>
          <ac:spMkLst>
            <pc:docMk/>
            <pc:sldMk cId="3289195861" sldId="4083"/>
            <ac:spMk id="15" creationId="{0837712E-605F-80F6-D73E-BF3F7A4C1EB0}"/>
          </ac:spMkLst>
        </pc:spChg>
        <pc:spChg chg="add mod">
          <ac:chgData name="Rizky Fajar" userId="490a5c0ae4650a6d" providerId="LiveId" clId="{5666174E-1FDC-4381-AE72-96AAAE51F635}" dt="2025-02-18T13:58:34.192" v="30459" actId="1076"/>
          <ac:spMkLst>
            <pc:docMk/>
            <pc:sldMk cId="3289195861" sldId="4083"/>
            <ac:spMk id="16" creationId="{888B5031-5FC0-CFB7-DEEF-5A32B3313F5C}"/>
          </ac:spMkLst>
        </pc:spChg>
        <pc:spChg chg="mod">
          <ac:chgData name="Rizky Fajar" userId="490a5c0ae4650a6d" providerId="LiveId" clId="{5666174E-1FDC-4381-AE72-96AAAE51F635}" dt="2025-02-19T13:27:59.939" v="32237"/>
          <ac:spMkLst>
            <pc:docMk/>
            <pc:sldMk cId="3289195861" sldId="4083"/>
            <ac:spMk id="17" creationId="{214BFF07-21CE-7725-737F-FEE257919E20}"/>
          </ac:spMkLst>
        </pc:spChg>
        <pc:spChg chg="add del mod">
          <ac:chgData name="Rizky Fajar" userId="490a5c0ae4650a6d" providerId="LiveId" clId="{5666174E-1FDC-4381-AE72-96AAAE51F635}" dt="2025-02-18T13:14:57.695" v="28923" actId="478"/>
          <ac:spMkLst>
            <pc:docMk/>
            <pc:sldMk cId="3289195861" sldId="4083"/>
            <ac:spMk id="17" creationId="{BF45EE12-974C-C853-501A-7EBABE58809B}"/>
          </ac:spMkLst>
        </pc:spChg>
        <pc:spChg chg="add mod">
          <ac:chgData name="Rizky Fajar" userId="490a5c0ae4650a6d" providerId="LiveId" clId="{5666174E-1FDC-4381-AE72-96AAAE51F635}" dt="2025-02-18T13:43:16.232" v="29984" actId="1076"/>
          <ac:spMkLst>
            <pc:docMk/>
            <pc:sldMk cId="3289195861" sldId="4083"/>
            <ac:spMk id="20" creationId="{876F7107-3474-BE8E-A89C-5934EC19E359}"/>
          </ac:spMkLst>
        </pc:spChg>
        <pc:spChg chg="add del mod">
          <ac:chgData name="Rizky Fajar" userId="490a5c0ae4650a6d" providerId="LiveId" clId="{5666174E-1FDC-4381-AE72-96AAAE51F635}" dt="2025-02-18T13:16:10.007" v="28965" actId="478"/>
          <ac:spMkLst>
            <pc:docMk/>
            <pc:sldMk cId="3289195861" sldId="4083"/>
            <ac:spMk id="21" creationId="{D1B0656E-0E2E-B9E7-0E91-E77C3AB51CA9}"/>
          </ac:spMkLst>
        </pc:spChg>
        <pc:spChg chg="add mod">
          <ac:chgData name="Rizky Fajar" userId="490a5c0ae4650a6d" providerId="LiveId" clId="{5666174E-1FDC-4381-AE72-96AAAE51F635}" dt="2025-02-18T14:22:57.513" v="31026" actId="14100"/>
          <ac:spMkLst>
            <pc:docMk/>
            <pc:sldMk cId="3289195861" sldId="4083"/>
            <ac:spMk id="22" creationId="{9E06E5D3-FD6C-537C-87FE-38473D7D8D55}"/>
          </ac:spMkLst>
        </pc:spChg>
        <pc:spChg chg="add mod">
          <ac:chgData name="Rizky Fajar" userId="490a5c0ae4650a6d" providerId="LiveId" clId="{5666174E-1FDC-4381-AE72-96AAAE51F635}" dt="2025-02-18T13:39:22.028" v="29894" actId="12789"/>
          <ac:spMkLst>
            <pc:docMk/>
            <pc:sldMk cId="3289195861" sldId="4083"/>
            <ac:spMk id="27" creationId="{45018BA9-D91B-C753-22CA-1C33DB39D610}"/>
          </ac:spMkLst>
        </pc:spChg>
        <pc:spChg chg="add del mod">
          <ac:chgData name="Rizky Fajar" userId="490a5c0ae4650a6d" providerId="LiveId" clId="{5666174E-1FDC-4381-AE72-96AAAE51F635}" dt="2025-02-18T13:22:28.319" v="29317" actId="478"/>
          <ac:spMkLst>
            <pc:docMk/>
            <pc:sldMk cId="3289195861" sldId="4083"/>
            <ac:spMk id="28" creationId="{34ED685D-BFE7-17F9-CD0A-5A25E88F2B85}"/>
          </ac:spMkLst>
        </pc:spChg>
        <pc:spChg chg="add del">
          <ac:chgData name="Rizky Fajar" userId="490a5c0ae4650a6d" providerId="LiveId" clId="{5666174E-1FDC-4381-AE72-96AAAE51F635}" dt="2025-02-18T13:22:43.616" v="29319" actId="11529"/>
          <ac:spMkLst>
            <pc:docMk/>
            <pc:sldMk cId="3289195861" sldId="4083"/>
            <ac:spMk id="29" creationId="{4F4EF1B2-038C-A7E1-D32B-E3D144C323F9}"/>
          </ac:spMkLst>
        </pc:spChg>
        <pc:spChg chg="add mod">
          <ac:chgData name="Rizky Fajar" userId="490a5c0ae4650a6d" providerId="LiveId" clId="{5666174E-1FDC-4381-AE72-96AAAE51F635}" dt="2025-02-18T14:00:40.162" v="30505" actId="1076"/>
          <ac:spMkLst>
            <pc:docMk/>
            <pc:sldMk cId="3289195861" sldId="4083"/>
            <ac:spMk id="30" creationId="{0C77FD9A-83E8-2B44-4378-DABF2B0AFA55}"/>
          </ac:spMkLst>
        </pc:spChg>
        <pc:spChg chg="add mod">
          <ac:chgData name="Rizky Fajar" userId="490a5c0ae4650a6d" providerId="LiveId" clId="{5666174E-1FDC-4381-AE72-96AAAE51F635}" dt="2025-02-18T14:00:40.162" v="30505" actId="1076"/>
          <ac:spMkLst>
            <pc:docMk/>
            <pc:sldMk cId="3289195861" sldId="4083"/>
            <ac:spMk id="31" creationId="{0DEAEDBE-B7CC-DAA3-9B41-5D1D7542E200}"/>
          </ac:spMkLst>
        </pc:spChg>
        <pc:spChg chg="add mod">
          <ac:chgData name="Rizky Fajar" userId="490a5c0ae4650a6d" providerId="LiveId" clId="{5666174E-1FDC-4381-AE72-96AAAE51F635}" dt="2025-02-18T14:00:40.162" v="30505" actId="1076"/>
          <ac:spMkLst>
            <pc:docMk/>
            <pc:sldMk cId="3289195861" sldId="4083"/>
            <ac:spMk id="32" creationId="{5EA3D951-B983-A2C7-DF6C-15C625CC57EA}"/>
          </ac:spMkLst>
        </pc:spChg>
        <pc:spChg chg="add mod">
          <ac:chgData name="Rizky Fajar" userId="490a5c0ae4650a6d" providerId="LiveId" clId="{5666174E-1FDC-4381-AE72-96AAAE51F635}" dt="2025-02-18T14:00:40.162" v="30505" actId="1076"/>
          <ac:spMkLst>
            <pc:docMk/>
            <pc:sldMk cId="3289195861" sldId="4083"/>
            <ac:spMk id="33" creationId="{51900460-6533-DB53-6726-F07B36029BD8}"/>
          </ac:spMkLst>
        </pc:spChg>
        <pc:spChg chg="add mod">
          <ac:chgData name="Rizky Fajar" userId="490a5c0ae4650a6d" providerId="LiveId" clId="{5666174E-1FDC-4381-AE72-96AAAE51F635}" dt="2025-02-18T14:00:40.162" v="30505" actId="1076"/>
          <ac:spMkLst>
            <pc:docMk/>
            <pc:sldMk cId="3289195861" sldId="4083"/>
            <ac:spMk id="34" creationId="{83250563-4C5C-0E05-E82D-E3E39C5EAD4B}"/>
          </ac:spMkLst>
        </pc:spChg>
        <pc:spChg chg="add mod">
          <ac:chgData name="Rizky Fajar" userId="490a5c0ae4650a6d" providerId="LiveId" clId="{5666174E-1FDC-4381-AE72-96AAAE51F635}" dt="2025-02-18T14:17:49.836" v="30895" actId="113"/>
          <ac:spMkLst>
            <pc:docMk/>
            <pc:sldMk cId="3289195861" sldId="4083"/>
            <ac:spMk id="52" creationId="{3C8C04AE-07EC-9460-D110-1BC216CB163E}"/>
          </ac:spMkLst>
        </pc:spChg>
        <pc:spChg chg="add del mod">
          <ac:chgData name="Rizky Fajar" userId="490a5c0ae4650a6d" providerId="LiveId" clId="{5666174E-1FDC-4381-AE72-96AAAE51F635}" dt="2025-02-18T13:34:58.944" v="29755" actId="478"/>
          <ac:spMkLst>
            <pc:docMk/>
            <pc:sldMk cId="3289195861" sldId="4083"/>
            <ac:spMk id="71" creationId="{8237E77D-478B-7DB2-1ABB-08F57FDD6D6A}"/>
          </ac:spMkLst>
        </pc:spChg>
        <pc:spChg chg="add mod">
          <ac:chgData name="Rizky Fajar" userId="490a5c0ae4650a6d" providerId="LiveId" clId="{5666174E-1FDC-4381-AE72-96AAAE51F635}" dt="2025-02-18T13:35:02.475" v="29756" actId="164"/>
          <ac:spMkLst>
            <pc:docMk/>
            <pc:sldMk cId="3289195861" sldId="4083"/>
            <ac:spMk id="111" creationId="{15A950CE-52A5-CE6B-462D-5E8EDCB602C9}"/>
          </ac:spMkLst>
        </pc:spChg>
        <pc:spChg chg="mod">
          <ac:chgData name="Rizky Fajar" userId="490a5c0ae4650a6d" providerId="LiveId" clId="{5666174E-1FDC-4381-AE72-96AAAE51F635}" dt="2025-02-18T13:40:43.096" v="29931" actId="207"/>
          <ac:spMkLst>
            <pc:docMk/>
            <pc:sldMk cId="3289195861" sldId="4083"/>
            <ac:spMk id="122" creationId="{B4813C56-F6A9-2450-41DB-2D4018AD4BCB}"/>
          </ac:spMkLst>
        </pc:spChg>
        <pc:spChg chg="add del mod">
          <ac:chgData name="Rizky Fajar" userId="490a5c0ae4650a6d" providerId="LiveId" clId="{5666174E-1FDC-4381-AE72-96AAAE51F635}" dt="2025-02-18T14:00:40.162" v="30505" actId="1076"/>
          <ac:spMkLst>
            <pc:docMk/>
            <pc:sldMk cId="3289195861" sldId="4083"/>
            <ac:spMk id="125" creationId="{F1D1F616-BD10-E956-A0CC-B0641F6DAA9D}"/>
          </ac:spMkLst>
        </pc:spChg>
        <pc:spChg chg="add mod ord">
          <ac:chgData name="Rizky Fajar" userId="490a5c0ae4650a6d" providerId="LiveId" clId="{5666174E-1FDC-4381-AE72-96AAAE51F635}" dt="2025-02-18T14:02:37.416" v="30530" actId="1038"/>
          <ac:spMkLst>
            <pc:docMk/>
            <pc:sldMk cId="3289195861" sldId="4083"/>
            <ac:spMk id="136" creationId="{9547FD53-E368-9C1E-B871-5B4FE4DAEEFD}"/>
          </ac:spMkLst>
        </pc:spChg>
        <pc:spChg chg="add mod ord">
          <ac:chgData name="Rizky Fajar" userId="490a5c0ae4650a6d" providerId="LiveId" clId="{5666174E-1FDC-4381-AE72-96AAAE51F635}" dt="2025-02-18T14:00:40.162" v="30505" actId="1076"/>
          <ac:spMkLst>
            <pc:docMk/>
            <pc:sldMk cId="3289195861" sldId="4083"/>
            <ac:spMk id="147" creationId="{4F51CE94-7E80-5B76-E0B5-FC78857F1DC3}"/>
          </ac:spMkLst>
        </pc:spChg>
        <pc:spChg chg="add del mod">
          <ac:chgData name="Rizky Fajar" userId="490a5c0ae4650a6d" providerId="LiveId" clId="{5666174E-1FDC-4381-AE72-96AAAE51F635}" dt="2025-02-18T13:45:35.392" v="30010" actId="478"/>
          <ac:spMkLst>
            <pc:docMk/>
            <pc:sldMk cId="3289195861" sldId="4083"/>
            <ac:spMk id="204" creationId="{E6FCC1FD-2EC3-5FA5-D109-CF94B3FD5563}"/>
          </ac:spMkLst>
        </pc:spChg>
        <pc:spChg chg="del">
          <ac:chgData name="Rizky Fajar" userId="490a5c0ae4650a6d" providerId="LiveId" clId="{5666174E-1FDC-4381-AE72-96AAAE51F635}" dt="2025-02-18T13:03:08.632" v="28710" actId="478"/>
          <ac:spMkLst>
            <pc:docMk/>
            <pc:sldMk cId="3289195861" sldId="4083"/>
            <ac:spMk id="214" creationId="{E6320362-8764-D740-44D2-5BAC1D3DDDC2}"/>
          </ac:spMkLst>
        </pc:spChg>
        <pc:spChg chg="del">
          <ac:chgData name="Rizky Fajar" userId="490a5c0ae4650a6d" providerId="LiveId" clId="{5666174E-1FDC-4381-AE72-96AAAE51F635}" dt="2025-02-18T13:03:08.632" v="28710" actId="478"/>
          <ac:spMkLst>
            <pc:docMk/>
            <pc:sldMk cId="3289195861" sldId="4083"/>
            <ac:spMk id="222" creationId="{F4C96FF0-E417-2EF3-3772-AD729AE2183B}"/>
          </ac:spMkLst>
        </pc:spChg>
        <pc:spChg chg="add mod ord">
          <ac:chgData name="Rizky Fajar" userId="490a5c0ae4650a6d" providerId="LiveId" clId="{5666174E-1FDC-4381-AE72-96AAAE51F635}" dt="2025-02-18T14:00:40.162" v="30505" actId="1076"/>
          <ac:spMkLst>
            <pc:docMk/>
            <pc:sldMk cId="3289195861" sldId="4083"/>
            <ac:spMk id="233" creationId="{1B0641BE-D672-92D8-2995-9B7864013DC4}"/>
          </ac:spMkLst>
        </pc:spChg>
        <pc:spChg chg="del">
          <ac:chgData name="Rizky Fajar" userId="490a5c0ae4650a6d" providerId="LiveId" clId="{5666174E-1FDC-4381-AE72-96AAAE51F635}" dt="2025-02-18T13:03:08.632" v="28710" actId="478"/>
          <ac:spMkLst>
            <pc:docMk/>
            <pc:sldMk cId="3289195861" sldId="4083"/>
            <ac:spMk id="235" creationId="{9103618F-5713-BBD2-6073-E61CE1C5293C}"/>
          </ac:spMkLst>
        </pc:spChg>
        <pc:spChg chg="del">
          <ac:chgData name="Rizky Fajar" userId="490a5c0ae4650a6d" providerId="LiveId" clId="{5666174E-1FDC-4381-AE72-96AAAE51F635}" dt="2025-02-18T13:03:08.632" v="28710" actId="478"/>
          <ac:spMkLst>
            <pc:docMk/>
            <pc:sldMk cId="3289195861" sldId="4083"/>
            <ac:spMk id="236" creationId="{B535BE7C-D19B-832F-C877-9DD782E85AB9}"/>
          </ac:spMkLst>
        </pc:spChg>
        <pc:spChg chg="del">
          <ac:chgData name="Rizky Fajar" userId="490a5c0ae4650a6d" providerId="LiveId" clId="{5666174E-1FDC-4381-AE72-96AAAE51F635}" dt="2025-02-18T13:03:08.632" v="28710" actId="478"/>
          <ac:spMkLst>
            <pc:docMk/>
            <pc:sldMk cId="3289195861" sldId="4083"/>
            <ac:spMk id="237" creationId="{C16E205A-3693-47F6-C3DB-BFE9A1416247}"/>
          </ac:spMkLst>
        </pc:spChg>
        <pc:spChg chg="add mod">
          <ac:chgData name="Rizky Fajar" userId="490a5c0ae4650a6d" providerId="LiveId" clId="{5666174E-1FDC-4381-AE72-96AAAE51F635}" dt="2025-02-18T13:47:35.297" v="30058" actId="1076"/>
          <ac:spMkLst>
            <pc:docMk/>
            <pc:sldMk cId="3289195861" sldId="4083"/>
            <ac:spMk id="247" creationId="{F8115464-2DB6-19B5-CA71-C8B31804FCC4}"/>
          </ac:spMkLst>
        </pc:spChg>
        <pc:spChg chg="del">
          <ac:chgData name="Rizky Fajar" userId="490a5c0ae4650a6d" providerId="LiveId" clId="{5666174E-1FDC-4381-AE72-96AAAE51F635}" dt="2025-02-18T13:03:12.057" v="28712" actId="478"/>
          <ac:spMkLst>
            <pc:docMk/>
            <pc:sldMk cId="3289195861" sldId="4083"/>
            <ac:spMk id="258" creationId="{2E7A2219-23F7-63B1-C283-66C40BE0552C}"/>
          </ac:spMkLst>
        </pc:spChg>
        <pc:spChg chg="del mod">
          <ac:chgData name="Rizky Fajar" userId="490a5c0ae4650a6d" providerId="LiveId" clId="{5666174E-1FDC-4381-AE72-96AAAE51F635}" dt="2025-02-18T13:12:40.788" v="28886" actId="478"/>
          <ac:spMkLst>
            <pc:docMk/>
            <pc:sldMk cId="3289195861" sldId="4083"/>
            <ac:spMk id="259" creationId="{0F954771-25D2-9E17-D408-07C15A3617E5}"/>
          </ac:spMkLst>
        </pc:spChg>
        <pc:spChg chg="del">
          <ac:chgData name="Rizky Fajar" userId="490a5c0ae4650a6d" providerId="LiveId" clId="{5666174E-1FDC-4381-AE72-96AAAE51F635}" dt="2025-02-18T13:03:11.663" v="28711" actId="478"/>
          <ac:spMkLst>
            <pc:docMk/>
            <pc:sldMk cId="3289195861" sldId="4083"/>
            <ac:spMk id="261" creationId="{537A6D47-D1B9-411E-6ADD-48428AD16DBA}"/>
          </ac:spMkLst>
        </pc:spChg>
        <pc:spChg chg="del">
          <ac:chgData name="Rizky Fajar" userId="490a5c0ae4650a6d" providerId="LiveId" clId="{5666174E-1FDC-4381-AE72-96AAAE51F635}" dt="2025-02-18T13:03:11.663" v="28711" actId="478"/>
          <ac:spMkLst>
            <pc:docMk/>
            <pc:sldMk cId="3289195861" sldId="4083"/>
            <ac:spMk id="262" creationId="{D9A3DC89-1A7C-6056-5C8A-266543C36A5D}"/>
          </ac:spMkLst>
        </pc:spChg>
        <pc:spChg chg="add mod">
          <ac:chgData name="Rizky Fajar" userId="490a5c0ae4650a6d" providerId="LiveId" clId="{5666174E-1FDC-4381-AE72-96AAAE51F635}" dt="2025-02-18T13:51:45.645" v="30136" actId="1076"/>
          <ac:spMkLst>
            <pc:docMk/>
            <pc:sldMk cId="3289195861" sldId="4083"/>
            <ac:spMk id="283" creationId="{8A4445BE-B777-7DEF-39BF-ECEE7969A725}"/>
          </ac:spMkLst>
        </pc:spChg>
        <pc:spChg chg="add del mod">
          <ac:chgData name="Rizky Fajar" userId="490a5c0ae4650a6d" providerId="LiveId" clId="{5666174E-1FDC-4381-AE72-96AAAE51F635}" dt="2025-02-18T13:50:47.426" v="30111" actId="478"/>
          <ac:spMkLst>
            <pc:docMk/>
            <pc:sldMk cId="3289195861" sldId="4083"/>
            <ac:spMk id="288" creationId="{0FCB06A7-7F2D-69EA-CFFA-FA45AD6CC9B8}"/>
          </ac:spMkLst>
        </pc:spChg>
        <pc:spChg chg="add mod">
          <ac:chgData name="Rizky Fajar" userId="490a5c0ae4650a6d" providerId="LiveId" clId="{5666174E-1FDC-4381-AE72-96AAAE51F635}" dt="2025-02-18T13:52:52.442" v="30206" actId="113"/>
          <ac:spMkLst>
            <pc:docMk/>
            <pc:sldMk cId="3289195861" sldId="4083"/>
            <ac:spMk id="291" creationId="{DFA8EDCA-876D-59E5-98C1-9ABAA9C532BF}"/>
          </ac:spMkLst>
        </pc:spChg>
        <pc:spChg chg="add mod">
          <ac:chgData name="Rizky Fajar" userId="490a5c0ae4650a6d" providerId="LiveId" clId="{5666174E-1FDC-4381-AE72-96AAAE51F635}" dt="2025-02-18T13:51:54.176" v="30144" actId="20577"/>
          <ac:spMkLst>
            <pc:docMk/>
            <pc:sldMk cId="3289195861" sldId="4083"/>
            <ac:spMk id="294" creationId="{2F36B534-D31D-D8C2-A3A0-1794609385C0}"/>
          </ac:spMkLst>
        </pc:spChg>
        <pc:spChg chg="add mod">
          <ac:chgData name="Rizky Fajar" userId="490a5c0ae4650a6d" providerId="LiveId" clId="{5666174E-1FDC-4381-AE72-96AAAE51F635}" dt="2025-02-18T13:55:10.166" v="30306" actId="12789"/>
          <ac:spMkLst>
            <pc:docMk/>
            <pc:sldMk cId="3289195861" sldId="4083"/>
            <ac:spMk id="295" creationId="{3322E5B4-4F36-BADB-BC32-E57015AA04DE}"/>
          </ac:spMkLst>
        </pc:spChg>
        <pc:spChg chg="add mod">
          <ac:chgData name="Rizky Fajar" userId="490a5c0ae4650a6d" providerId="LiveId" clId="{5666174E-1FDC-4381-AE72-96AAAE51F635}" dt="2025-02-18T14:09:04.337" v="30691" actId="12"/>
          <ac:spMkLst>
            <pc:docMk/>
            <pc:sldMk cId="3289195861" sldId="4083"/>
            <ac:spMk id="296" creationId="{23301AEC-34F8-EC65-649B-1D2C4EEBB445}"/>
          </ac:spMkLst>
        </pc:spChg>
        <pc:spChg chg="add mod">
          <ac:chgData name="Rizky Fajar" userId="490a5c0ae4650a6d" providerId="LiveId" clId="{5666174E-1FDC-4381-AE72-96AAAE51F635}" dt="2025-02-18T13:55:57.740" v="30362" actId="14100"/>
          <ac:spMkLst>
            <pc:docMk/>
            <pc:sldMk cId="3289195861" sldId="4083"/>
            <ac:spMk id="314" creationId="{FA5FF300-9B86-DAE8-434B-811B5CB40235}"/>
          </ac:spMkLst>
        </pc:spChg>
        <pc:spChg chg="add mod">
          <ac:chgData name="Rizky Fajar" userId="490a5c0ae4650a6d" providerId="LiveId" clId="{5666174E-1FDC-4381-AE72-96AAAE51F635}" dt="2025-02-18T13:56:40.039" v="30391" actId="20577"/>
          <ac:spMkLst>
            <pc:docMk/>
            <pc:sldMk cId="3289195861" sldId="4083"/>
            <ac:spMk id="322" creationId="{038B8C04-CE86-C2D7-3D18-885CBF9994E5}"/>
          </ac:spMkLst>
        </pc:spChg>
        <pc:spChg chg="add mod ord">
          <ac:chgData name="Rizky Fajar" userId="490a5c0ae4650a6d" providerId="LiveId" clId="{5666174E-1FDC-4381-AE72-96AAAE51F635}" dt="2025-02-18T13:59:14.082" v="30478" actId="166"/>
          <ac:spMkLst>
            <pc:docMk/>
            <pc:sldMk cId="3289195861" sldId="4083"/>
            <ac:spMk id="323" creationId="{60CA1572-B05B-788F-FA95-8B1BE3DABD57}"/>
          </ac:spMkLst>
        </pc:spChg>
        <pc:spChg chg="mod">
          <ac:chgData name="Rizky Fajar" userId="490a5c0ae4650a6d" providerId="LiveId" clId="{5666174E-1FDC-4381-AE72-96AAAE51F635}" dt="2025-02-18T13:56:56.601" v="30394" actId="571"/>
          <ac:spMkLst>
            <pc:docMk/>
            <pc:sldMk cId="3289195861" sldId="4083"/>
            <ac:spMk id="325" creationId="{FC0233C3-3CA2-0EAC-78F5-F410BBC423EC}"/>
          </ac:spMkLst>
        </pc:spChg>
        <pc:spChg chg="add mod">
          <ac:chgData name="Rizky Fajar" userId="490a5c0ae4650a6d" providerId="LiveId" clId="{5666174E-1FDC-4381-AE72-96AAAE51F635}" dt="2025-02-18T14:00:40.162" v="30505" actId="1076"/>
          <ac:spMkLst>
            <pc:docMk/>
            <pc:sldMk cId="3289195861" sldId="4083"/>
            <ac:spMk id="327" creationId="{8906A03E-314B-C16C-4A1B-D038A841E792}"/>
          </ac:spMkLst>
        </pc:spChg>
        <pc:spChg chg="add del mod">
          <ac:chgData name="Rizky Fajar" userId="490a5c0ae4650a6d" providerId="LiveId" clId="{5666174E-1FDC-4381-AE72-96AAAE51F635}" dt="2025-02-18T14:18:12.617" v="30919" actId="478"/>
          <ac:spMkLst>
            <pc:docMk/>
            <pc:sldMk cId="3289195861" sldId="4083"/>
            <ac:spMk id="339" creationId="{C85B2125-63E7-A82D-BC46-7F184324E6AC}"/>
          </ac:spMkLst>
        </pc:spChg>
        <pc:spChg chg="add mod">
          <ac:chgData name="Rizky Fajar" userId="490a5c0ae4650a6d" providerId="LiveId" clId="{5666174E-1FDC-4381-AE72-96AAAE51F635}" dt="2025-02-18T14:05:45.495" v="30690" actId="20577"/>
          <ac:spMkLst>
            <pc:docMk/>
            <pc:sldMk cId="3289195861" sldId="4083"/>
            <ac:spMk id="342" creationId="{CA8D3F8A-2D59-A26A-4B20-51C49A032DF7}"/>
          </ac:spMkLst>
        </pc:spChg>
        <pc:spChg chg="add mod ord">
          <ac:chgData name="Rizky Fajar" userId="490a5c0ae4650a6d" providerId="LiveId" clId="{5666174E-1FDC-4381-AE72-96AAAE51F635}" dt="2025-02-18T13:59:40.957" v="30490" actId="1076"/>
          <ac:spMkLst>
            <pc:docMk/>
            <pc:sldMk cId="3289195861" sldId="4083"/>
            <ac:spMk id="362" creationId="{3175C921-CFD9-152B-676C-40763B1D888D}"/>
          </ac:spMkLst>
        </pc:spChg>
        <pc:spChg chg="del">
          <ac:chgData name="Rizky Fajar" userId="490a5c0ae4650a6d" providerId="LiveId" clId="{5666174E-1FDC-4381-AE72-96AAAE51F635}" dt="2025-02-18T13:03:07.100" v="28709" actId="478"/>
          <ac:spMkLst>
            <pc:docMk/>
            <pc:sldMk cId="3289195861" sldId="4083"/>
            <ac:spMk id="383" creationId="{F1BDF042-18C2-9B79-5EE0-9F5A3E8D625E}"/>
          </ac:spMkLst>
        </pc:spChg>
        <pc:spChg chg="add mod">
          <ac:chgData name="Rizky Fajar" userId="490a5c0ae4650a6d" providerId="LiveId" clId="{5666174E-1FDC-4381-AE72-96AAAE51F635}" dt="2025-02-18T14:20:51.210" v="30992" actId="207"/>
          <ac:spMkLst>
            <pc:docMk/>
            <pc:sldMk cId="3289195861" sldId="4083"/>
            <ac:spMk id="394" creationId="{A7783251-632E-3F42-FF38-0BCBEE707FD7}"/>
          </ac:spMkLst>
        </pc:spChg>
        <pc:spChg chg="add mod">
          <ac:chgData name="Rizky Fajar" userId="490a5c0ae4650a6d" providerId="LiveId" clId="{5666174E-1FDC-4381-AE72-96AAAE51F635}" dt="2025-02-18T14:20:50.595" v="30991" actId="207"/>
          <ac:spMkLst>
            <pc:docMk/>
            <pc:sldMk cId="3289195861" sldId="4083"/>
            <ac:spMk id="395" creationId="{9C19EE1F-F0F9-4C39-44A2-4A73D9F4B2CF}"/>
          </ac:spMkLst>
        </pc:spChg>
        <pc:spChg chg="mod">
          <ac:chgData name="Rizky Fajar" userId="490a5c0ae4650a6d" providerId="LiveId" clId="{5666174E-1FDC-4381-AE72-96AAAE51F635}" dt="2025-02-18T14:20:58.912" v="30995" actId="207"/>
          <ac:spMkLst>
            <pc:docMk/>
            <pc:sldMk cId="3289195861" sldId="4083"/>
            <ac:spMk id="398" creationId="{0DFBA8C2-5236-C460-8E14-395655C2F9BF}"/>
          </ac:spMkLst>
        </pc:spChg>
        <pc:spChg chg="add mod">
          <ac:chgData name="Rizky Fajar" userId="490a5c0ae4650a6d" providerId="LiveId" clId="{5666174E-1FDC-4381-AE72-96AAAE51F635}" dt="2025-02-18T14:20:53.694" v="30993" actId="207"/>
          <ac:spMkLst>
            <pc:docMk/>
            <pc:sldMk cId="3289195861" sldId="4083"/>
            <ac:spMk id="400" creationId="{091E7E36-1637-952F-2D56-A86577DC2788}"/>
          </ac:spMkLst>
        </pc:spChg>
        <pc:spChg chg="add mod">
          <ac:chgData name="Rizky Fajar" userId="490a5c0ae4650a6d" providerId="LiveId" clId="{5666174E-1FDC-4381-AE72-96AAAE51F635}" dt="2025-02-18T14:20:56.069" v="30994" actId="207"/>
          <ac:spMkLst>
            <pc:docMk/>
            <pc:sldMk cId="3289195861" sldId="4083"/>
            <ac:spMk id="402" creationId="{8A1A50DC-3B01-911F-0894-7B07AB4F0BA0}"/>
          </ac:spMkLst>
        </pc:spChg>
        <pc:spChg chg="add mod">
          <ac:chgData name="Rizky Fajar" userId="490a5c0ae4650a6d" providerId="LiveId" clId="{5666174E-1FDC-4381-AE72-96AAAE51F635}" dt="2025-02-18T14:22:29.335" v="31020" actId="1076"/>
          <ac:spMkLst>
            <pc:docMk/>
            <pc:sldMk cId="3289195861" sldId="4083"/>
            <ac:spMk id="403" creationId="{63E5112D-B7CF-EE64-86DA-B6AA9AB910CD}"/>
          </ac:spMkLst>
        </pc:spChg>
        <pc:spChg chg="add mod">
          <ac:chgData name="Rizky Fajar" userId="490a5c0ae4650a6d" providerId="LiveId" clId="{5666174E-1FDC-4381-AE72-96AAAE51F635}" dt="2025-02-18T14:23:15.179" v="31028" actId="1076"/>
          <ac:spMkLst>
            <pc:docMk/>
            <pc:sldMk cId="3289195861" sldId="4083"/>
            <ac:spMk id="409" creationId="{5593DEC4-A216-D5DD-6C46-1E47C98C7928}"/>
          </ac:spMkLst>
        </pc:spChg>
        <pc:spChg chg="add mod">
          <ac:chgData name="Rizky Fajar" userId="490a5c0ae4650a6d" providerId="LiveId" clId="{5666174E-1FDC-4381-AE72-96AAAE51F635}" dt="2025-02-18T14:18:24.647" v="30924" actId="1076"/>
          <ac:spMkLst>
            <pc:docMk/>
            <pc:sldMk cId="3289195861" sldId="4083"/>
            <ac:spMk id="410" creationId="{0310C3D8-F5BA-D5CB-6B37-F9AD0A8B759D}"/>
          </ac:spMkLst>
        </pc:spChg>
        <pc:spChg chg="del">
          <ac:chgData name="Rizky Fajar" userId="490a5c0ae4650a6d" providerId="LiveId" clId="{5666174E-1FDC-4381-AE72-96AAAE51F635}" dt="2025-02-18T13:03:13.616" v="28713" actId="478"/>
          <ac:spMkLst>
            <pc:docMk/>
            <pc:sldMk cId="3289195861" sldId="4083"/>
            <ac:spMk id="417" creationId="{D7A575CA-7037-CF70-A941-B898FB3ED1AB}"/>
          </ac:spMkLst>
        </pc:spChg>
        <pc:spChg chg="add mod">
          <ac:chgData name="Rizky Fajar" userId="490a5c0ae4650a6d" providerId="LiveId" clId="{5666174E-1FDC-4381-AE72-96AAAE51F635}" dt="2025-02-18T14:21:01.617" v="30996" actId="207"/>
          <ac:spMkLst>
            <pc:docMk/>
            <pc:sldMk cId="3289195861" sldId="4083"/>
            <ac:spMk id="419" creationId="{43F5FA3A-D291-16F9-4F58-FDF3B7591E33}"/>
          </ac:spMkLst>
        </pc:spChg>
        <pc:spChg chg="add mod">
          <ac:chgData name="Rizky Fajar" userId="490a5c0ae4650a6d" providerId="LiveId" clId="{5666174E-1FDC-4381-AE72-96AAAE51F635}" dt="2025-02-18T14:21:49.633" v="31007" actId="1076"/>
          <ac:spMkLst>
            <pc:docMk/>
            <pc:sldMk cId="3289195861" sldId="4083"/>
            <ac:spMk id="420" creationId="{86A6C5EF-8C2D-E190-2ACB-D5C03622186E}"/>
          </ac:spMkLst>
        </pc:spChg>
        <pc:grpChg chg="del">
          <ac:chgData name="Rizky Fajar" userId="490a5c0ae4650a6d" providerId="LiveId" clId="{5666174E-1FDC-4381-AE72-96AAAE51F635}" dt="2025-02-19T13:27:59.531" v="32236" actId="478"/>
          <ac:grpSpMkLst>
            <pc:docMk/>
            <pc:sldMk cId="3289195861" sldId="4083"/>
            <ac:grpSpMk id="4" creationId="{E969436B-8F61-2A23-A2E5-B2940D6F4CA8}"/>
          </ac:grpSpMkLst>
        </pc:grpChg>
        <pc:grpChg chg="add mod">
          <ac:chgData name="Rizky Fajar" userId="490a5c0ae4650a6d" providerId="LiveId" clId="{5666174E-1FDC-4381-AE72-96AAAE51F635}" dt="2025-02-19T13:27:59.939" v="32237"/>
          <ac:grpSpMkLst>
            <pc:docMk/>
            <pc:sldMk cId="3289195861" sldId="4083"/>
            <ac:grpSpMk id="14" creationId="{FB5A946C-A73F-F0FD-6D23-0A3A83E80ED5}"/>
          </ac:grpSpMkLst>
        </pc:grpChg>
        <pc:grpChg chg="add mod">
          <ac:chgData name="Rizky Fajar" userId="490a5c0ae4650a6d" providerId="LiveId" clId="{5666174E-1FDC-4381-AE72-96AAAE51F635}" dt="2025-02-18T13:34:53.882" v="29752" actId="164"/>
          <ac:grpSpMkLst>
            <pc:docMk/>
            <pc:sldMk cId="3289195861" sldId="4083"/>
            <ac:grpSpMk id="119" creationId="{F2F4D913-E309-332C-B74A-40968D796F3F}"/>
          </ac:grpSpMkLst>
        </pc:grpChg>
        <pc:grpChg chg="add mod">
          <ac:chgData name="Rizky Fajar" userId="490a5c0ae4650a6d" providerId="LiveId" clId="{5666174E-1FDC-4381-AE72-96AAAE51F635}" dt="2025-02-18T13:47:55.719" v="30060" actId="12788"/>
          <ac:grpSpMkLst>
            <pc:docMk/>
            <pc:sldMk cId="3289195861" sldId="4083"/>
            <ac:grpSpMk id="120" creationId="{D29BDED1-11F1-B9FB-FEED-8A926E8721B9}"/>
          </ac:grpSpMkLst>
        </pc:grpChg>
        <pc:grpChg chg="add mod">
          <ac:chgData name="Rizky Fajar" userId="490a5c0ae4650a6d" providerId="LiveId" clId="{5666174E-1FDC-4381-AE72-96AAAE51F635}" dt="2025-02-18T13:47:55.719" v="30060" actId="12788"/>
          <ac:grpSpMkLst>
            <pc:docMk/>
            <pc:sldMk cId="3289195861" sldId="4083"/>
            <ac:grpSpMk id="121" creationId="{3B53F9EF-7BDA-26B4-5D74-54259105849D}"/>
          </ac:grpSpMkLst>
        </pc:grpChg>
        <pc:grpChg chg="del">
          <ac:chgData name="Rizky Fajar" userId="490a5c0ae4650a6d" providerId="LiveId" clId="{5666174E-1FDC-4381-AE72-96AAAE51F635}" dt="2025-02-18T13:03:08.632" v="28710" actId="478"/>
          <ac:grpSpMkLst>
            <pc:docMk/>
            <pc:sldMk cId="3289195861" sldId="4083"/>
            <ac:grpSpMk id="238" creationId="{6C2019FC-BB4B-3F0B-DF5A-FCB392D80EA8}"/>
          </ac:grpSpMkLst>
        </pc:grpChg>
        <pc:grpChg chg="add mod">
          <ac:chgData name="Rizky Fajar" userId="490a5c0ae4650a6d" providerId="LiveId" clId="{5666174E-1FDC-4381-AE72-96AAAE51F635}" dt="2025-02-18T13:59:25.926" v="30484" actId="1076"/>
          <ac:grpSpMkLst>
            <pc:docMk/>
            <pc:sldMk cId="3289195861" sldId="4083"/>
            <ac:grpSpMk id="324" creationId="{1C7540A5-2CA0-0DDB-59B5-A22B5E1DD824}"/>
          </ac:grpSpMkLst>
        </pc:grpChg>
        <pc:grpChg chg="del">
          <ac:chgData name="Rizky Fajar" userId="490a5c0ae4650a6d" providerId="LiveId" clId="{5666174E-1FDC-4381-AE72-96AAAE51F635}" dt="2025-02-18T13:03:08.632" v="28710" actId="478"/>
          <ac:grpSpMkLst>
            <pc:docMk/>
            <pc:sldMk cId="3289195861" sldId="4083"/>
            <ac:grpSpMk id="337" creationId="{371CAAE9-F017-A14C-E221-897C434BA1A3}"/>
          </ac:grpSpMkLst>
        </pc:grpChg>
        <pc:grpChg chg="del">
          <ac:chgData name="Rizky Fajar" userId="490a5c0ae4650a6d" providerId="LiveId" clId="{5666174E-1FDC-4381-AE72-96AAAE51F635}" dt="2025-02-18T13:03:15.163" v="28715" actId="478"/>
          <ac:grpSpMkLst>
            <pc:docMk/>
            <pc:sldMk cId="3289195861" sldId="4083"/>
            <ac:grpSpMk id="382" creationId="{27FD7EA6-26FE-6AD7-3585-C4B0079F0778}"/>
          </ac:grpSpMkLst>
        </pc:grpChg>
        <pc:grpChg chg="add mod">
          <ac:chgData name="Rizky Fajar" userId="490a5c0ae4650a6d" providerId="LiveId" clId="{5666174E-1FDC-4381-AE72-96AAAE51F635}" dt="2025-02-18T14:05:25.057" v="30684" actId="164"/>
          <ac:grpSpMkLst>
            <pc:docMk/>
            <pc:sldMk cId="3289195861" sldId="4083"/>
            <ac:grpSpMk id="397" creationId="{88B24242-9153-7714-6E91-B79926754F1B}"/>
          </ac:grpSpMkLst>
        </pc:grpChg>
        <pc:grpChg chg="add mod">
          <ac:chgData name="Rizky Fajar" userId="490a5c0ae4650a6d" providerId="LiveId" clId="{5666174E-1FDC-4381-AE72-96AAAE51F635}" dt="2025-02-18T14:22:39.055" v="31022" actId="12789"/>
          <ac:grpSpMkLst>
            <pc:docMk/>
            <pc:sldMk cId="3289195861" sldId="4083"/>
            <ac:grpSpMk id="404" creationId="{1E3AE3E0-13D7-2105-A97B-FA4A7DD6111B}"/>
          </ac:grpSpMkLst>
        </pc:grpChg>
        <pc:grpChg chg="add mod">
          <ac:chgData name="Rizky Fajar" userId="490a5c0ae4650a6d" providerId="LiveId" clId="{5666174E-1FDC-4381-AE72-96AAAE51F635}" dt="2025-02-18T14:22:39.055" v="31022" actId="12789"/>
          <ac:grpSpMkLst>
            <pc:docMk/>
            <pc:sldMk cId="3289195861" sldId="4083"/>
            <ac:grpSpMk id="405" creationId="{19C60C10-C1B0-17D4-F737-5A609B5209A9}"/>
          </ac:grpSpMkLst>
        </pc:grpChg>
        <pc:grpChg chg="add mod">
          <ac:chgData name="Rizky Fajar" userId="490a5c0ae4650a6d" providerId="LiveId" clId="{5666174E-1FDC-4381-AE72-96AAAE51F635}" dt="2025-02-18T14:22:39.055" v="31022" actId="12789"/>
          <ac:grpSpMkLst>
            <pc:docMk/>
            <pc:sldMk cId="3289195861" sldId="4083"/>
            <ac:grpSpMk id="407" creationId="{F7B4B039-CE63-B5C3-861A-B62142680416}"/>
          </ac:grpSpMkLst>
        </pc:grpChg>
        <pc:grpChg chg="del">
          <ac:chgData name="Rizky Fajar" userId="490a5c0ae4650a6d" providerId="LiveId" clId="{5666174E-1FDC-4381-AE72-96AAAE51F635}" dt="2025-02-18T14:02:43.807" v="30531" actId="478"/>
          <ac:grpSpMkLst>
            <pc:docMk/>
            <pc:sldMk cId="3289195861" sldId="4083"/>
            <ac:grpSpMk id="415" creationId="{2CE33E62-CC15-C566-1A75-4DD21B61B10E}"/>
          </ac:grpSpMkLst>
        </pc:grpChg>
        <pc:grpChg chg="add mod">
          <ac:chgData name="Rizky Fajar" userId="490a5c0ae4650a6d" providerId="LiveId" clId="{5666174E-1FDC-4381-AE72-96AAAE51F635}" dt="2025-02-18T14:22:39.055" v="31022" actId="12789"/>
          <ac:grpSpMkLst>
            <pc:docMk/>
            <pc:sldMk cId="3289195861" sldId="4083"/>
            <ac:grpSpMk id="421" creationId="{FFC6DBB2-9847-7ACE-0C41-656DBE7000F2}"/>
          </ac:grpSpMkLst>
        </pc:grpChg>
        <pc:picChg chg="add del mod">
          <ac:chgData name="Rizky Fajar" userId="490a5c0ae4650a6d" providerId="LiveId" clId="{5666174E-1FDC-4381-AE72-96AAAE51F635}" dt="2025-02-18T13:11:07.897" v="28728" actId="478"/>
          <ac:picMkLst>
            <pc:docMk/>
            <pc:sldMk cId="3289195861" sldId="4083"/>
            <ac:picMk id="9" creationId="{4C29C08E-4CB7-7F99-6BCB-CFC63351A5A6}"/>
          </ac:picMkLst>
        </pc:picChg>
        <pc:picChg chg="add del mod">
          <ac:chgData name="Rizky Fajar" userId="490a5c0ae4650a6d" providerId="LiveId" clId="{5666174E-1FDC-4381-AE72-96AAAE51F635}" dt="2025-02-18T14:03:48.057" v="30570" actId="478"/>
          <ac:picMkLst>
            <pc:docMk/>
            <pc:sldMk cId="3289195861" sldId="4083"/>
            <ac:picMk id="15" creationId="{33CC35B3-851C-CEA9-064D-6523F4A125E0}"/>
          </ac:picMkLst>
        </pc:picChg>
        <pc:picChg chg="del">
          <ac:chgData name="Rizky Fajar" userId="490a5c0ae4650a6d" providerId="LiveId" clId="{5666174E-1FDC-4381-AE72-96AAAE51F635}" dt="2025-02-18T13:10:32.241" v="28719" actId="478"/>
          <ac:picMkLst>
            <pc:docMk/>
            <pc:sldMk cId="3289195861" sldId="4083"/>
            <ac:picMk id="35" creationId="{19C46941-28FD-6A74-94AA-B1C70A78001D}"/>
          </ac:picMkLst>
        </pc:picChg>
        <pc:picChg chg="add del mod">
          <ac:chgData name="Rizky Fajar" userId="490a5c0ae4650a6d" providerId="LiveId" clId="{5666174E-1FDC-4381-AE72-96AAAE51F635}" dt="2025-02-18T13:34:58.944" v="29755" actId="478"/>
          <ac:picMkLst>
            <pc:docMk/>
            <pc:sldMk cId="3289195861" sldId="4083"/>
            <ac:picMk id="117" creationId="{B76FFA3A-B0B4-6A3E-0C1D-807DEA6AC6E1}"/>
          </ac:picMkLst>
        </pc:picChg>
        <pc:picChg chg="add mod">
          <ac:chgData name="Rizky Fajar" userId="490a5c0ae4650a6d" providerId="LiveId" clId="{5666174E-1FDC-4381-AE72-96AAAE51F635}" dt="2025-02-18T13:35:02.475" v="29756" actId="164"/>
          <ac:picMkLst>
            <pc:docMk/>
            <pc:sldMk cId="3289195861" sldId="4083"/>
            <ac:picMk id="118" creationId="{09A5F303-F35E-1F8C-4032-84865A89DA30}"/>
          </ac:picMkLst>
        </pc:picChg>
        <pc:picChg chg="mod">
          <ac:chgData name="Rizky Fajar" userId="490a5c0ae4650a6d" providerId="LiveId" clId="{5666174E-1FDC-4381-AE72-96AAAE51F635}" dt="2025-02-18T13:40:43.096" v="29931" actId="207"/>
          <ac:picMkLst>
            <pc:docMk/>
            <pc:sldMk cId="3289195861" sldId="4083"/>
            <ac:picMk id="123" creationId="{C45B9182-D4DD-D452-F137-0B6B8E9750A5}"/>
          </ac:picMkLst>
        </pc:picChg>
        <pc:picChg chg="del">
          <ac:chgData name="Rizky Fajar" userId="490a5c0ae4650a6d" providerId="LiveId" clId="{5666174E-1FDC-4381-AE72-96AAAE51F635}" dt="2025-02-18T13:06:16.101" v="28718" actId="478"/>
          <ac:picMkLst>
            <pc:docMk/>
            <pc:sldMk cId="3289195861" sldId="4083"/>
            <ac:picMk id="253" creationId="{6BBB7677-BC88-27D8-2557-90BBD30FA039}"/>
          </ac:picMkLst>
        </pc:picChg>
        <pc:picChg chg="del">
          <ac:chgData name="Rizky Fajar" userId="490a5c0ae4650a6d" providerId="LiveId" clId="{5666174E-1FDC-4381-AE72-96AAAE51F635}" dt="2025-02-18T13:03:11.663" v="28711" actId="478"/>
          <ac:picMkLst>
            <pc:docMk/>
            <pc:sldMk cId="3289195861" sldId="4083"/>
            <ac:picMk id="263" creationId="{199FC289-B87E-B4BE-A6DD-89CA7F51203A}"/>
          </ac:picMkLst>
        </pc:picChg>
        <pc:picChg chg="mod">
          <ac:chgData name="Rizky Fajar" userId="490a5c0ae4650a6d" providerId="LiveId" clId="{5666174E-1FDC-4381-AE72-96AAAE51F635}" dt="2025-02-18T13:56:56.601" v="30394" actId="571"/>
          <ac:picMkLst>
            <pc:docMk/>
            <pc:sldMk cId="3289195861" sldId="4083"/>
            <ac:picMk id="326" creationId="{5D661FE8-56D2-EE58-F240-BADCAAD68BE2}"/>
          </ac:picMkLst>
        </pc:picChg>
        <pc:picChg chg="del">
          <ac:chgData name="Rizky Fajar" userId="490a5c0ae4650a6d" providerId="LiveId" clId="{5666174E-1FDC-4381-AE72-96AAAE51F635}" dt="2025-02-18T13:03:08.632" v="28710" actId="478"/>
          <ac:picMkLst>
            <pc:docMk/>
            <pc:sldMk cId="3289195861" sldId="4083"/>
            <ac:picMk id="386" creationId="{96148D24-4B77-E290-28F0-7DF4F8475610}"/>
          </ac:picMkLst>
        </pc:picChg>
        <pc:picChg chg="del">
          <ac:chgData name="Rizky Fajar" userId="490a5c0ae4650a6d" providerId="LiveId" clId="{5666174E-1FDC-4381-AE72-96AAAE51F635}" dt="2025-02-18T13:03:08.632" v="28710" actId="478"/>
          <ac:picMkLst>
            <pc:docMk/>
            <pc:sldMk cId="3289195861" sldId="4083"/>
            <ac:picMk id="387" creationId="{5E90172F-8C13-14BA-4188-6DE857A4DF04}"/>
          </ac:picMkLst>
        </pc:picChg>
        <pc:picChg chg="del">
          <ac:chgData name="Rizky Fajar" userId="490a5c0ae4650a6d" providerId="LiveId" clId="{5666174E-1FDC-4381-AE72-96AAAE51F635}" dt="2025-02-18T13:03:08.632" v="28710" actId="478"/>
          <ac:picMkLst>
            <pc:docMk/>
            <pc:sldMk cId="3289195861" sldId="4083"/>
            <ac:picMk id="388" creationId="{E1A4A946-C266-14FD-6E0C-7019AB228B09}"/>
          </ac:picMkLst>
        </pc:picChg>
        <pc:picChg chg="mod">
          <ac:chgData name="Rizky Fajar" userId="490a5c0ae4650a6d" providerId="LiveId" clId="{5666174E-1FDC-4381-AE72-96AAAE51F635}" dt="2025-02-18T14:03:19.447" v="30546"/>
          <ac:picMkLst>
            <pc:docMk/>
            <pc:sldMk cId="3289195861" sldId="4083"/>
            <ac:picMk id="399" creationId="{631D1DA7-EC5C-5577-A710-62F7A599C24B}"/>
          </ac:picMkLst>
        </pc:picChg>
        <pc:picChg chg="del">
          <ac:chgData name="Rizky Fajar" userId="490a5c0ae4650a6d" providerId="LiveId" clId="{5666174E-1FDC-4381-AE72-96AAAE51F635}" dt="2025-02-18T13:03:14.382" v="28714" actId="478"/>
          <ac:picMkLst>
            <pc:docMk/>
            <pc:sldMk cId="3289195861" sldId="4083"/>
            <ac:picMk id="416" creationId="{4CD94015-42C5-B6F3-BF7D-50B73C6FB98C}"/>
          </ac:picMkLst>
        </pc:picChg>
        <pc:cxnChg chg="add del mod">
          <ac:chgData name="Rizky Fajar" userId="490a5c0ae4650a6d" providerId="LiveId" clId="{5666174E-1FDC-4381-AE72-96AAAE51F635}" dt="2025-02-18T13:39:58.924" v="29920" actId="478"/>
          <ac:cxnSpMkLst>
            <pc:docMk/>
            <pc:sldMk cId="3289195861" sldId="4083"/>
            <ac:cxnSpMk id="23" creationId="{5EA5C4F4-44DD-105E-AFA0-3ACAA904B963}"/>
          </ac:cxnSpMkLst>
        </pc:cxnChg>
        <pc:cxnChg chg="add mod">
          <ac:chgData name="Rizky Fajar" userId="490a5c0ae4650a6d" providerId="LiveId" clId="{5666174E-1FDC-4381-AE72-96AAAE51F635}" dt="2025-02-18T13:43:36.639" v="29991" actId="1076"/>
          <ac:cxnSpMkLst>
            <pc:docMk/>
            <pc:sldMk cId="3289195861" sldId="4083"/>
            <ac:cxnSpMk id="25" creationId="{A1E91B85-3112-6862-5AEB-5B0B2C6FF32F}"/>
          </ac:cxnSpMkLst>
        </pc:cxnChg>
        <pc:cxnChg chg="add mod">
          <ac:chgData name="Rizky Fajar" userId="490a5c0ae4650a6d" providerId="LiveId" clId="{5666174E-1FDC-4381-AE72-96AAAE51F635}" dt="2025-02-18T13:39:22.028" v="29894" actId="12789"/>
          <ac:cxnSpMkLst>
            <pc:docMk/>
            <pc:sldMk cId="3289195861" sldId="4083"/>
            <ac:cxnSpMk id="38" creationId="{06E6F617-01D3-C7A2-F7C4-4903D80ABB78}"/>
          </ac:cxnSpMkLst>
        </pc:cxnChg>
        <pc:cxnChg chg="add mod">
          <ac:chgData name="Rizky Fajar" userId="490a5c0ae4650a6d" providerId="LiveId" clId="{5666174E-1FDC-4381-AE72-96AAAE51F635}" dt="2025-02-18T14:00:11.348" v="30500" actId="14100"/>
          <ac:cxnSpMkLst>
            <pc:docMk/>
            <pc:sldMk cId="3289195861" sldId="4083"/>
            <ac:cxnSpMk id="39" creationId="{AA235574-ECC7-6720-944D-AF4730FBEAA3}"/>
          </ac:cxnSpMkLst>
        </pc:cxnChg>
        <pc:cxnChg chg="add mod">
          <ac:chgData name="Rizky Fajar" userId="490a5c0ae4650a6d" providerId="LiveId" clId="{5666174E-1FDC-4381-AE72-96AAAE51F635}" dt="2025-02-18T13:42:01.864" v="29955" actId="12789"/>
          <ac:cxnSpMkLst>
            <pc:docMk/>
            <pc:sldMk cId="3289195861" sldId="4083"/>
            <ac:cxnSpMk id="42" creationId="{75969BFC-B480-C44D-00B2-C4EA66C00AF2}"/>
          </ac:cxnSpMkLst>
        </pc:cxnChg>
        <pc:cxnChg chg="add mod">
          <ac:chgData name="Rizky Fajar" userId="490a5c0ae4650a6d" providerId="LiveId" clId="{5666174E-1FDC-4381-AE72-96AAAE51F635}" dt="2025-02-18T13:57:30.023" v="30410" actId="1035"/>
          <ac:cxnSpMkLst>
            <pc:docMk/>
            <pc:sldMk cId="3289195861" sldId="4083"/>
            <ac:cxnSpMk id="46" creationId="{8626AC69-0149-B0EF-83B4-AB92E11F3CC3}"/>
          </ac:cxnSpMkLst>
        </pc:cxnChg>
        <pc:cxnChg chg="add mod">
          <ac:chgData name="Rizky Fajar" userId="490a5c0ae4650a6d" providerId="LiveId" clId="{5666174E-1FDC-4381-AE72-96AAAE51F635}" dt="2025-02-18T13:57:27.054" v="30403" actId="1076"/>
          <ac:cxnSpMkLst>
            <pc:docMk/>
            <pc:sldMk cId="3289195861" sldId="4083"/>
            <ac:cxnSpMk id="49" creationId="{47FD1A2B-9D26-CC96-BEA0-BF108CE5C908}"/>
          </ac:cxnSpMkLst>
        </pc:cxnChg>
        <pc:cxnChg chg="add mod">
          <ac:chgData name="Rizky Fajar" userId="490a5c0ae4650a6d" providerId="LiveId" clId="{5666174E-1FDC-4381-AE72-96AAAE51F635}" dt="2025-02-18T14:02:29.479" v="30519" actId="1076"/>
          <ac:cxnSpMkLst>
            <pc:docMk/>
            <pc:sldMk cId="3289195861" sldId="4083"/>
            <ac:cxnSpMk id="53" creationId="{4097A99F-2E04-620C-4263-33411AABC868}"/>
          </ac:cxnSpMkLst>
        </pc:cxnChg>
        <pc:cxnChg chg="add del mod">
          <ac:chgData name="Rizky Fajar" userId="490a5c0ae4650a6d" providerId="LiveId" clId="{5666174E-1FDC-4381-AE72-96AAAE51F635}" dt="2025-02-18T13:40:58.502" v="29933" actId="478"/>
          <ac:cxnSpMkLst>
            <pc:docMk/>
            <pc:sldMk cId="3289195861" sldId="4083"/>
            <ac:cxnSpMk id="75" creationId="{F8029C39-4354-452E-F49D-403C78056504}"/>
          </ac:cxnSpMkLst>
        </pc:cxnChg>
        <pc:cxnChg chg="add del mod">
          <ac:chgData name="Rizky Fajar" userId="490a5c0ae4650a6d" providerId="LiveId" clId="{5666174E-1FDC-4381-AE72-96AAAE51F635}" dt="2025-02-18T13:41:26.700" v="29946" actId="478"/>
          <ac:cxnSpMkLst>
            <pc:docMk/>
            <pc:sldMk cId="3289195861" sldId="4083"/>
            <ac:cxnSpMk id="113" creationId="{C07426D7-D2FE-B2B6-C1C7-3B9EFB0B1A32}"/>
          </ac:cxnSpMkLst>
        </pc:cxnChg>
        <pc:cxnChg chg="add del mod">
          <ac:chgData name="Rizky Fajar" userId="490a5c0ae4650a6d" providerId="LiveId" clId="{5666174E-1FDC-4381-AE72-96AAAE51F635}" dt="2025-02-18T14:00:08.536" v="30499" actId="478"/>
          <ac:cxnSpMkLst>
            <pc:docMk/>
            <pc:sldMk cId="3289195861" sldId="4083"/>
            <ac:cxnSpMk id="131" creationId="{EDA8D2F3-D254-CC3B-3526-99AD9A440F60}"/>
          </ac:cxnSpMkLst>
        </pc:cxnChg>
        <pc:cxnChg chg="add del mod">
          <ac:chgData name="Rizky Fajar" userId="490a5c0ae4650a6d" providerId="LiveId" clId="{5666174E-1FDC-4381-AE72-96AAAE51F635}" dt="2025-02-18T14:00:14.223" v="30501" actId="478"/>
          <ac:cxnSpMkLst>
            <pc:docMk/>
            <pc:sldMk cId="3289195861" sldId="4083"/>
            <ac:cxnSpMk id="137" creationId="{77ED1DF5-5BD9-1EE2-601B-D45DD6B9FCE6}"/>
          </ac:cxnSpMkLst>
        </pc:cxnChg>
        <pc:cxnChg chg="add mod">
          <ac:chgData name="Rizky Fajar" userId="490a5c0ae4650a6d" providerId="LiveId" clId="{5666174E-1FDC-4381-AE72-96AAAE51F635}" dt="2025-02-18T13:58:34.192" v="30459" actId="1076"/>
          <ac:cxnSpMkLst>
            <pc:docMk/>
            <pc:sldMk cId="3289195861" sldId="4083"/>
            <ac:cxnSpMk id="143" creationId="{F527D760-0457-C5A5-7EF5-255EF266F5A2}"/>
          </ac:cxnSpMkLst>
        </pc:cxnChg>
        <pc:cxnChg chg="add mod">
          <ac:chgData name="Rizky Fajar" userId="490a5c0ae4650a6d" providerId="LiveId" clId="{5666174E-1FDC-4381-AE72-96AAAE51F635}" dt="2025-02-18T13:43:33.545" v="29990" actId="14100"/>
          <ac:cxnSpMkLst>
            <pc:docMk/>
            <pc:sldMk cId="3289195861" sldId="4083"/>
            <ac:cxnSpMk id="146" creationId="{95854B2A-D2B1-CF6C-9780-C5410A9CC423}"/>
          </ac:cxnSpMkLst>
        </pc:cxnChg>
        <pc:cxnChg chg="add mod">
          <ac:chgData name="Rizky Fajar" userId="490a5c0ae4650a6d" providerId="LiveId" clId="{5666174E-1FDC-4381-AE72-96AAAE51F635}" dt="2025-02-18T13:59:48.176" v="30492" actId="14100"/>
          <ac:cxnSpMkLst>
            <pc:docMk/>
            <pc:sldMk cId="3289195861" sldId="4083"/>
            <ac:cxnSpMk id="181" creationId="{F871B599-9A2C-E634-1876-61D4049D2AB2}"/>
          </ac:cxnSpMkLst>
        </pc:cxnChg>
        <pc:cxnChg chg="add del mod">
          <ac:chgData name="Rizky Fajar" userId="490a5c0ae4650a6d" providerId="LiveId" clId="{5666174E-1FDC-4381-AE72-96AAAE51F635}" dt="2025-02-18T13:59:46.301" v="30491" actId="478"/>
          <ac:cxnSpMkLst>
            <pc:docMk/>
            <pc:sldMk cId="3289195861" sldId="4083"/>
            <ac:cxnSpMk id="195" creationId="{336732FC-9209-9D96-A89B-54F7B47BFFA8}"/>
          </ac:cxnSpMkLst>
        </pc:cxnChg>
        <pc:cxnChg chg="add mod">
          <ac:chgData name="Rizky Fajar" userId="490a5c0ae4650a6d" providerId="LiveId" clId="{5666174E-1FDC-4381-AE72-96AAAE51F635}" dt="2025-02-18T13:59:56.989" v="30495" actId="14100"/>
          <ac:cxnSpMkLst>
            <pc:docMk/>
            <pc:sldMk cId="3289195861" sldId="4083"/>
            <ac:cxnSpMk id="205" creationId="{C317E4A3-5B2D-8BAF-ACFD-24759EEAC56A}"/>
          </ac:cxnSpMkLst>
        </pc:cxnChg>
        <pc:cxnChg chg="add del mod">
          <ac:chgData name="Rizky Fajar" userId="490a5c0ae4650a6d" providerId="LiveId" clId="{5666174E-1FDC-4381-AE72-96AAAE51F635}" dt="2025-02-18T13:59:55.504" v="30494" actId="478"/>
          <ac:cxnSpMkLst>
            <pc:docMk/>
            <pc:sldMk cId="3289195861" sldId="4083"/>
            <ac:cxnSpMk id="215" creationId="{65224CC0-8FAB-1797-1B5E-C29FD46BDEAD}"/>
          </ac:cxnSpMkLst>
        </pc:cxnChg>
        <pc:cxnChg chg="add del mod">
          <ac:chgData name="Rizky Fajar" userId="490a5c0ae4650a6d" providerId="LiveId" clId="{5666174E-1FDC-4381-AE72-96AAAE51F635}" dt="2025-02-18T14:00:02.942" v="30497" actId="478"/>
          <ac:cxnSpMkLst>
            <pc:docMk/>
            <pc:sldMk cId="3289195861" sldId="4083"/>
            <ac:cxnSpMk id="250" creationId="{25DE204C-D8F0-5E72-4357-6462965CF32F}"/>
          </ac:cxnSpMkLst>
        </pc:cxnChg>
        <pc:cxnChg chg="add mod">
          <ac:chgData name="Rizky Fajar" userId="490a5c0ae4650a6d" providerId="LiveId" clId="{5666174E-1FDC-4381-AE72-96AAAE51F635}" dt="2025-02-18T14:00:16.504" v="30502" actId="14100"/>
          <ac:cxnSpMkLst>
            <pc:docMk/>
            <pc:sldMk cId="3289195861" sldId="4083"/>
            <ac:cxnSpMk id="284" creationId="{13DEE064-212C-02FF-A85C-5E2F795C2D03}"/>
          </ac:cxnSpMkLst>
        </pc:cxnChg>
        <pc:cxnChg chg="add del mod">
          <ac:chgData name="Rizky Fajar" userId="490a5c0ae4650a6d" providerId="LiveId" clId="{5666174E-1FDC-4381-AE72-96AAAE51F635}" dt="2025-02-18T13:50:49.566" v="30112" actId="478"/>
          <ac:cxnSpMkLst>
            <pc:docMk/>
            <pc:sldMk cId="3289195861" sldId="4083"/>
            <ac:cxnSpMk id="289" creationId="{F8666944-124F-42C0-DF47-21A1B4FBCA50}"/>
          </ac:cxnSpMkLst>
        </pc:cxnChg>
        <pc:cxnChg chg="add mod">
          <ac:chgData name="Rizky Fajar" userId="490a5c0ae4650a6d" providerId="LiveId" clId="{5666174E-1FDC-4381-AE72-96AAAE51F635}" dt="2025-02-18T13:53:40.781" v="30236" actId="14100"/>
          <ac:cxnSpMkLst>
            <pc:docMk/>
            <pc:sldMk cId="3289195861" sldId="4083"/>
            <ac:cxnSpMk id="297" creationId="{FF6D7D66-4104-8AAA-CE0E-A502F35DE90D}"/>
          </ac:cxnSpMkLst>
        </pc:cxnChg>
        <pc:cxnChg chg="add mod">
          <ac:chgData name="Rizky Fajar" userId="490a5c0ae4650a6d" providerId="LiveId" clId="{5666174E-1FDC-4381-AE72-96AAAE51F635}" dt="2025-02-18T13:53:44.125" v="30239" actId="14100"/>
          <ac:cxnSpMkLst>
            <pc:docMk/>
            <pc:sldMk cId="3289195861" sldId="4083"/>
            <ac:cxnSpMk id="300" creationId="{8328AC82-88D6-8F88-A6E7-54A22BF1D557}"/>
          </ac:cxnSpMkLst>
        </pc:cxnChg>
        <pc:cxnChg chg="add mod">
          <ac:chgData name="Rizky Fajar" userId="490a5c0ae4650a6d" providerId="LiveId" clId="{5666174E-1FDC-4381-AE72-96AAAE51F635}" dt="2025-02-18T13:53:48.344" v="30243" actId="1076"/>
          <ac:cxnSpMkLst>
            <pc:docMk/>
            <pc:sldMk cId="3289195861" sldId="4083"/>
            <ac:cxnSpMk id="303" creationId="{BBCCDD63-6F2E-CE8B-80A6-0760E7547CF6}"/>
          </ac:cxnSpMkLst>
        </pc:cxnChg>
        <pc:cxnChg chg="del mod">
          <ac:chgData name="Rizky Fajar" userId="490a5c0ae4650a6d" providerId="LiveId" clId="{5666174E-1FDC-4381-AE72-96AAAE51F635}" dt="2025-02-18T13:03:16.288" v="28717" actId="478"/>
          <ac:cxnSpMkLst>
            <pc:docMk/>
            <pc:sldMk cId="3289195861" sldId="4083"/>
            <ac:cxnSpMk id="304" creationId="{6292885C-447F-5138-809C-678AE7BB210F}"/>
          </ac:cxnSpMkLst>
        </pc:cxnChg>
        <pc:cxnChg chg="add mod">
          <ac:chgData name="Rizky Fajar" userId="490a5c0ae4650a6d" providerId="LiveId" clId="{5666174E-1FDC-4381-AE72-96AAAE51F635}" dt="2025-02-18T13:55:10.166" v="30306" actId="12789"/>
          <ac:cxnSpMkLst>
            <pc:docMk/>
            <pc:sldMk cId="3289195861" sldId="4083"/>
            <ac:cxnSpMk id="307" creationId="{B8D11767-AF67-3D47-5B33-DB11334FE2B7}"/>
          </ac:cxnSpMkLst>
        </pc:cxnChg>
        <pc:cxnChg chg="add mod">
          <ac:chgData name="Rizky Fajar" userId="490a5c0ae4650a6d" providerId="LiveId" clId="{5666174E-1FDC-4381-AE72-96AAAE51F635}" dt="2025-02-18T13:55:57.740" v="30362" actId="14100"/>
          <ac:cxnSpMkLst>
            <pc:docMk/>
            <pc:sldMk cId="3289195861" sldId="4083"/>
            <ac:cxnSpMk id="310" creationId="{1F341167-61CB-F07E-0303-C93A21A104B5}"/>
          </ac:cxnSpMkLst>
        </pc:cxnChg>
        <pc:cxnChg chg="add mod">
          <ac:chgData name="Rizky Fajar" userId="490a5c0ae4650a6d" providerId="LiveId" clId="{5666174E-1FDC-4381-AE72-96AAAE51F635}" dt="2025-02-18T13:57:30.023" v="30410" actId="1035"/>
          <ac:cxnSpMkLst>
            <pc:docMk/>
            <pc:sldMk cId="3289195861" sldId="4083"/>
            <ac:cxnSpMk id="329" creationId="{F136E7D1-EC8C-DC08-AC0A-B77B1B05A0CF}"/>
          </ac:cxnSpMkLst>
        </pc:cxnChg>
        <pc:cxnChg chg="add mod">
          <ac:chgData name="Rizky Fajar" userId="490a5c0ae4650a6d" providerId="LiveId" clId="{5666174E-1FDC-4381-AE72-96AAAE51F635}" dt="2025-02-18T13:58:11.691" v="30412"/>
          <ac:cxnSpMkLst>
            <pc:docMk/>
            <pc:sldMk cId="3289195861" sldId="4083"/>
            <ac:cxnSpMk id="336" creationId="{05D0F567-6DB4-7D7B-CAB2-B0DD9CC76C1F}"/>
          </ac:cxnSpMkLst>
        </pc:cxnChg>
        <pc:cxnChg chg="add mod">
          <ac:chgData name="Rizky Fajar" userId="490a5c0ae4650a6d" providerId="LiveId" clId="{5666174E-1FDC-4381-AE72-96AAAE51F635}" dt="2025-02-18T14:18:24.647" v="30924" actId="1076"/>
          <ac:cxnSpMkLst>
            <pc:docMk/>
            <pc:sldMk cId="3289195861" sldId="4083"/>
            <ac:cxnSpMk id="346" creationId="{799A120D-2BCA-7B3C-44F8-A4DA142FF409}"/>
          </ac:cxnSpMkLst>
        </pc:cxnChg>
        <pc:cxnChg chg="add mod">
          <ac:chgData name="Rizky Fajar" userId="490a5c0ae4650a6d" providerId="LiveId" clId="{5666174E-1FDC-4381-AE72-96AAAE51F635}" dt="2025-02-18T13:58:54.207" v="30467" actId="14100"/>
          <ac:cxnSpMkLst>
            <pc:docMk/>
            <pc:sldMk cId="3289195861" sldId="4083"/>
            <ac:cxnSpMk id="350" creationId="{1E486C03-E061-657A-5E4B-2A8FF6642BC2}"/>
          </ac:cxnSpMkLst>
        </pc:cxnChg>
        <pc:cxnChg chg="del mod">
          <ac:chgData name="Rizky Fajar" userId="490a5c0ae4650a6d" providerId="LiveId" clId="{5666174E-1FDC-4381-AE72-96AAAE51F635}" dt="2025-02-18T13:03:15.710" v="28716" actId="478"/>
          <ac:cxnSpMkLst>
            <pc:docMk/>
            <pc:sldMk cId="3289195861" sldId="4083"/>
            <ac:cxnSpMk id="352" creationId="{B8E579EB-C5A7-4858-C7C4-51DB2B9FF731}"/>
          </ac:cxnSpMkLst>
        </pc:cxnChg>
        <pc:cxnChg chg="add mod">
          <ac:chgData name="Rizky Fajar" userId="490a5c0ae4650a6d" providerId="LiveId" clId="{5666174E-1FDC-4381-AE72-96AAAE51F635}" dt="2025-02-18T14:18:24.647" v="30924" actId="1076"/>
          <ac:cxnSpMkLst>
            <pc:docMk/>
            <pc:sldMk cId="3289195861" sldId="4083"/>
            <ac:cxnSpMk id="354" creationId="{2A450642-1B53-35E8-A305-69409B8A126E}"/>
          </ac:cxnSpMkLst>
        </pc:cxnChg>
        <pc:cxnChg chg="add del mod">
          <ac:chgData name="Rizky Fajar" userId="490a5c0ae4650a6d" providerId="LiveId" clId="{5666174E-1FDC-4381-AE72-96AAAE51F635}" dt="2025-02-18T13:59:09.567" v="30476" actId="478"/>
          <ac:cxnSpMkLst>
            <pc:docMk/>
            <pc:sldMk cId="3289195861" sldId="4083"/>
            <ac:cxnSpMk id="358" creationId="{95A682D1-10B0-B607-6B2D-F67576E25C0A}"/>
          </ac:cxnSpMkLst>
        </pc:cxnChg>
        <pc:cxnChg chg="add mod">
          <ac:chgData name="Rizky Fajar" userId="490a5c0ae4650a6d" providerId="LiveId" clId="{5666174E-1FDC-4381-AE72-96AAAE51F635}" dt="2025-02-18T13:59:35.723" v="30488" actId="14100"/>
          <ac:cxnSpMkLst>
            <pc:docMk/>
            <pc:sldMk cId="3289195861" sldId="4083"/>
            <ac:cxnSpMk id="363" creationId="{ED18DB69-E6CC-B57F-DAC8-BD6F016A2326}"/>
          </ac:cxnSpMkLst>
        </pc:cxnChg>
        <pc:cxnChg chg="add mod">
          <ac:chgData name="Rizky Fajar" userId="490a5c0ae4650a6d" providerId="LiveId" clId="{5666174E-1FDC-4381-AE72-96AAAE51F635}" dt="2025-02-18T14:01:10.616" v="30510" actId="208"/>
          <ac:cxnSpMkLst>
            <pc:docMk/>
            <pc:sldMk cId="3289195861" sldId="4083"/>
            <ac:cxnSpMk id="376" creationId="{8E2C16B2-5725-8D79-B766-D603419D0ABF}"/>
          </ac:cxnSpMkLst>
        </pc:cxnChg>
        <pc:cxnChg chg="add mod">
          <ac:chgData name="Rizky Fajar" userId="490a5c0ae4650a6d" providerId="LiveId" clId="{5666174E-1FDC-4381-AE72-96AAAE51F635}" dt="2025-02-18T14:02:37.416" v="30530" actId="1038"/>
          <ac:cxnSpMkLst>
            <pc:docMk/>
            <pc:sldMk cId="3289195861" sldId="4083"/>
            <ac:cxnSpMk id="378" creationId="{E27D0783-6827-2C10-80CA-FC134CF64156}"/>
          </ac:cxnSpMkLst>
        </pc:cxnChg>
      </pc:sldChg>
      <pc:sldChg chg="addSp delSp modSp mod">
        <pc:chgData name="Rizky Fajar" userId="490a5c0ae4650a6d" providerId="LiveId" clId="{5666174E-1FDC-4381-AE72-96AAAE51F635}" dt="2025-02-19T13:28:03.249" v="32239"/>
        <pc:sldMkLst>
          <pc:docMk/>
          <pc:sldMk cId="2591432972" sldId="4084"/>
        </pc:sldMkLst>
        <pc:spChg chg="mod">
          <ac:chgData name="Rizky Fajar" userId="490a5c0ae4650a6d" providerId="LiveId" clId="{5666174E-1FDC-4381-AE72-96AAAE51F635}" dt="2025-02-19T13:28:03.249" v="32239"/>
          <ac:spMkLst>
            <pc:docMk/>
            <pc:sldMk cId="2591432972" sldId="4084"/>
            <ac:spMk id="14" creationId="{3BDBB7D1-550F-122E-B47E-77D443830395}"/>
          </ac:spMkLst>
        </pc:spChg>
        <pc:spChg chg="mod">
          <ac:chgData name="Rizky Fajar" userId="490a5c0ae4650a6d" providerId="LiveId" clId="{5666174E-1FDC-4381-AE72-96AAAE51F635}" dt="2025-02-19T13:28:03.249" v="32239"/>
          <ac:spMkLst>
            <pc:docMk/>
            <pc:sldMk cId="2591432972" sldId="4084"/>
            <ac:spMk id="15" creationId="{BC447966-5589-C2A0-EE7C-A8CA15E9ACC8}"/>
          </ac:spMkLst>
        </pc:spChg>
        <pc:grpChg chg="del">
          <ac:chgData name="Rizky Fajar" userId="490a5c0ae4650a6d" providerId="LiveId" clId="{5666174E-1FDC-4381-AE72-96AAAE51F635}" dt="2025-02-19T13:28:03.030" v="32238" actId="478"/>
          <ac:grpSpMkLst>
            <pc:docMk/>
            <pc:sldMk cId="2591432972" sldId="4084"/>
            <ac:grpSpMk id="4" creationId="{9388B2E3-7053-67FD-8AB4-26F5DA764B62}"/>
          </ac:grpSpMkLst>
        </pc:grpChg>
        <pc:grpChg chg="add mod">
          <ac:chgData name="Rizky Fajar" userId="490a5c0ae4650a6d" providerId="LiveId" clId="{5666174E-1FDC-4381-AE72-96AAAE51F635}" dt="2025-02-19T13:28:03.249" v="32239"/>
          <ac:grpSpMkLst>
            <pc:docMk/>
            <pc:sldMk cId="2591432972" sldId="4084"/>
            <ac:grpSpMk id="9" creationId="{986CA839-07BA-E1D0-0247-F12E24488154}"/>
          </ac:grpSpMkLst>
        </pc:grpChg>
      </pc:sldChg>
      <pc:sldChg chg="addSp delSp modSp mod">
        <pc:chgData name="Rizky Fajar" userId="490a5c0ae4650a6d" providerId="LiveId" clId="{5666174E-1FDC-4381-AE72-96AAAE51F635}" dt="2025-02-19T13:28:06.761" v="32241"/>
        <pc:sldMkLst>
          <pc:docMk/>
          <pc:sldMk cId="2802894260" sldId="4085"/>
        </pc:sldMkLst>
        <pc:spChg chg="mod">
          <ac:chgData name="Rizky Fajar" userId="490a5c0ae4650a6d" providerId="LiveId" clId="{5666174E-1FDC-4381-AE72-96AAAE51F635}" dt="2025-02-19T13:28:06.761" v="32241"/>
          <ac:spMkLst>
            <pc:docMk/>
            <pc:sldMk cId="2802894260" sldId="4085"/>
            <ac:spMk id="15" creationId="{CCFD6238-FCC4-5FD3-81B5-6155BEBA24AD}"/>
          </ac:spMkLst>
        </pc:spChg>
        <pc:spChg chg="mod">
          <ac:chgData name="Rizky Fajar" userId="490a5c0ae4650a6d" providerId="LiveId" clId="{5666174E-1FDC-4381-AE72-96AAAE51F635}" dt="2025-02-19T13:28:06.761" v="32241"/>
          <ac:spMkLst>
            <pc:docMk/>
            <pc:sldMk cId="2802894260" sldId="4085"/>
            <ac:spMk id="16" creationId="{2B6AD2AB-02B9-1C81-5FF7-054719018E51}"/>
          </ac:spMkLst>
        </pc:spChg>
        <pc:grpChg chg="del">
          <ac:chgData name="Rizky Fajar" userId="490a5c0ae4650a6d" providerId="LiveId" clId="{5666174E-1FDC-4381-AE72-96AAAE51F635}" dt="2025-02-19T13:28:06.525" v="32240" actId="478"/>
          <ac:grpSpMkLst>
            <pc:docMk/>
            <pc:sldMk cId="2802894260" sldId="4085"/>
            <ac:grpSpMk id="4" creationId="{044BA2F1-0AA4-70DA-D066-BAF60E4D1FD0}"/>
          </ac:grpSpMkLst>
        </pc:grpChg>
        <pc:grpChg chg="add mod">
          <ac:chgData name="Rizky Fajar" userId="490a5c0ae4650a6d" providerId="LiveId" clId="{5666174E-1FDC-4381-AE72-96AAAE51F635}" dt="2025-02-19T13:28:06.761" v="32241"/>
          <ac:grpSpMkLst>
            <pc:docMk/>
            <pc:sldMk cId="2802894260" sldId="4085"/>
            <ac:grpSpMk id="14" creationId="{316E1BF6-4016-0051-FF76-27AB8EAD87B6}"/>
          </ac:grpSpMkLst>
        </pc:grpChg>
      </pc:sldChg>
      <pc:sldChg chg="delSp mod">
        <pc:chgData name="Rizky Fajar" userId="490a5c0ae4650a6d" providerId="LiveId" clId="{5666174E-1FDC-4381-AE72-96AAAE51F635}" dt="2025-02-19T13:38:45.672" v="32253" actId="478"/>
        <pc:sldMkLst>
          <pc:docMk/>
          <pc:sldMk cId="534624752" sldId="4087"/>
        </pc:sldMkLst>
        <pc:picChg chg="del">
          <ac:chgData name="Rizky Fajar" userId="490a5c0ae4650a6d" providerId="LiveId" clId="{5666174E-1FDC-4381-AE72-96AAAE51F635}" dt="2025-02-19T13:38:41.907" v="32251" actId="478"/>
          <ac:picMkLst>
            <pc:docMk/>
            <pc:sldMk cId="534624752" sldId="4087"/>
            <ac:picMk id="14" creationId="{987C255A-4ABB-73D6-CEB6-BEB4D3C5B039}"/>
          </ac:picMkLst>
        </pc:picChg>
        <pc:picChg chg="del">
          <ac:chgData name="Rizky Fajar" userId="490a5c0ae4650a6d" providerId="LiveId" clId="{5666174E-1FDC-4381-AE72-96AAAE51F635}" dt="2025-02-19T13:38:45.672" v="32253" actId="478"/>
          <ac:picMkLst>
            <pc:docMk/>
            <pc:sldMk cId="534624752" sldId="4087"/>
            <ac:picMk id="36" creationId="{8223B1F8-9764-E682-9096-D5921E219061}"/>
          </ac:picMkLst>
        </pc:picChg>
        <pc:picChg chg="del">
          <ac:chgData name="Rizky Fajar" userId="490a5c0ae4650a6d" providerId="LiveId" clId="{5666174E-1FDC-4381-AE72-96AAAE51F635}" dt="2025-02-19T13:38:45.057" v="32252" actId="478"/>
          <ac:picMkLst>
            <pc:docMk/>
            <pc:sldMk cId="534624752" sldId="4087"/>
            <ac:picMk id="124" creationId="{48469AF7-2594-F9F3-6AC3-429A29AAE645}"/>
          </ac:picMkLst>
        </pc:picChg>
      </pc:sldChg>
      <pc:sldChg chg="addSp delSp modSp mod">
        <pc:chgData name="Rizky Fajar" userId="490a5c0ae4650a6d" providerId="LiveId" clId="{5666174E-1FDC-4381-AE72-96AAAE51F635}" dt="2025-02-19T13:28:10.429" v="32243"/>
        <pc:sldMkLst>
          <pc:docMk/>
          <pc:sldMk cId="400687406" sldId="4088"/>
        </pc:sldMkLst>
        <pc:spChg chg="mod">
          <ac:chgData name="Rizky Fajar" userId="490a5c0ae4650a6d" providerId="LiveId" clId="{5666174E-1FDC-4381-AE72-96AAAE51F635}" dt="2025-02-19T13:28:10.429" v="32243"/>
          <ac:spMkLst>
            <pc:docMk/>
            <pc:sldMk cId="400687406" sldId="4088"/>
            <ac:spMk id="10" creationId="{BCE31267-DC7E-6B00-6FCE-B88201C8D35B}"/>
          </ac:spMkLst>
        </pc:spChg>
        <pc:spChg chg="mod">
          <ac:chgData name="Rizky Fajar" userId="490a5c0ae4650a6d" providerId="LiveId" clId="{5666174E-1FDC-4381-AE72-96AAAE51F635}" dt="2025-02-19T13:28:10.429" v="32243"/>
          <ac:spMkLst>
            <pc:docMk/>
            <pc:sldMk cId="400687406" sldId="4088"/>
            <ac:spMk id="13" creationId="{9668C78B-FAFB-CDF1-FCA6-613094BCAC11}"/>
          </ac:spMkLst>
        </pc:spChg>
        <pc:grpChg chg="del">
          <ac:chgData name="Rizky Fajar" userId="490a5c0ae4650a6d" providerId="LiveId" clId="{5666174E-1FDC-4381-AE72-96AAAE51F635}" dt="2025-02-19T13:28:10.225" v="32242" actId="478"/>
          <ac:grpSpMkLst>
            <pc:docMk/>
            <pc:sldMk cId="400687406" sldId="4088"/>
            <ac:grpSpMk id="4" creationId="{2786D950-F433-36A4-39A9-1FEC0EE3CB3B}"/>
          </ac:grpSpMkLst>
        </pc:grpChg>
        <pc:grpChg chg="add mod">
          <ac:chgData name="Rizky Fajar" userId="490a5c0ae4650a6d" providerId="LiveId" clId="{5666174E-1FDC-4381-AE72-96AAAE51F635}" dt="2025-02-19T13:28:10.429" v="32243"/>
          <ac:grpSpMkLst>
            <pc:docMk/>
            <pc:sldMk cId="400687406" sldId="4088"/>
            <ac:grpSpMk id="9" creationId="{EE49FB32-6DAD-E13E-0739-1811BB32B711}"/>
          </ac:grpSpMkLst>
        </pc:grpChg>
      </pc:sldChg>
      <pc:sldChg chg="addSp delSp modSp mod">
        <pc:chgData name="Rizky Fajar" userId="490a5c0ae4650a6d" providerId="LiveId" clId="{5666174E-1FDC-4381-AE72-96AAAE51F635}" dt="2025-02-19T13:39:10.272" v="32257" actId="478"/>
        <pc:sldMkLst>
          <pc:docMk/>
          <pc:sldMk cId="724972836" sldId="4091"/>
        </pc:sldMkLst>
        <pc:spChg chg="mod">
          <ac:chgData name="Rizky Fajar" userId="490a5c0ae4650a6d" providerId="LiveId" clId="{5666174E-1FDC-4381-AE72-96AAAE51F635}" dt="2025-02-19T13:28:15.119" v="32245"/>
          <ac:spMkLst>
            <pc:docMk/>
            <pc:sldMk cId="724972836" sldId="4091"/>
            <ac:spMk id="9" creationId="{E2BF1377-40FA-7F85-A609-E1D2FF49ED90}"/>
          </ac:spMkLst>
        </pc:spChg>
        <pc:spChg chg="mod">
          <ac:chgData name="Rizky Fajar" userId="490a5c0ae4650a6d" providerId="LiveId" clId="{5666174E-1FDC-4381-AE72-96AAAE51F635}" dt="2025-02-19T13:28:15.119" v="32245"/>
          <ac:spMkLst>
            <pc:docMk/>
            <pc:sldMk cId="724972836" sldId="4091"/>
            <ac:spMk id="13" creationId="{B0AB1C4D-F1B7-0C88-E2CE-F829889344C8}"/>
          </ac:spMkLst>
        </pc:spChg>
        <pc:grpChg chg="del">
          <ac:chgData name="Rizky Fajar" userId="490a5c0ae4650a6d" providerId="LiveId" clId="{5666174E-1FDC-4381-AE72-96AAAE51F635}" dt="2025-02-19T13:28:14.915" v="32244" actId="478"/>
          <ac:grpSpMkLst>
            <pc:docMk/>
            <pc:sldMk cId="724972836" sldId="4091"/>
            <ac:grpSpMk id="4" creationId="{C3B0B155-5E01-42E8-D0F3-24F398E99F84}"/>
          </ac:grpSpMkLst>
        </pc:grpChg>
        <pc:grpChg chg="add mod">
          <ac:chgData name="Rizky Fajar" userId="490a5c0ae4650a6d" providerId="LiveId" clId="{5666174E-1FDC-4381-AE72-96AAAE51F635}" dt="2025-02-19T13:28:15.119" v="32245"/>
          <ac:grpSpMkLst>
            <pc:docMk/>
            <pc:sldMk cId="724972836" sldId="4091"/>
            <ac:grpSpMk id="7" creationId="{96FBD4F3-2FD4-CE79-A49F-AF4730D9B0A2}"/>
          </ac:grpSpMkLst>
        </pc:grpChg>
        <pc:picChg chg="del">
          <ac:chgData name="Rizky Fajar" userId="490a5c0ae4650a6d" providerId="LiveId" clId="{5666174E-1FDC-4381-AE72-96AAAE51F635}" dt="2025-02-19T13:39:10.272" v="32257" actId="478"/>
          <ac:picMkLst>
            <pc:docMk/>
            <pc:sldMk cId="724972836" sldId="4091"/>
            <ac:picMk id="36" creationId="{E497597E-B18C-2000-F8DD-252F8746AE03}"/>
          </ac:picMkLst>
        </pc:picChg>
      </pc:sldChg>
      <pc:sldChg chg="addSp delSp modSp mod">
        <pc:chgData name="Rizky Fajar" userId="490a5c0ae4650a6d" providerId="LiveId" clId="{5666174E-1FDC-4381-AE72-96AAAE51F635}" dt="2025-02-19T13:11:39.162" v="31330" actId="20577"/>
        <pc:sldMkLst>
          <pc:docMk/>
          <pc:sldMk cId="353997096" sldId="4092"/>
        </pc:sldMkLst>
        <pc:spChg chg="add mod">
          <ac:chgData name="Rizky Fajar" userId="490a5c0ae4650a6d" providerId="LiveId" clId="{5666174E-1FDC-4381-AE72-96AAAE51F635}" dt="2025-02-19T13:03:43.452" v="31209" actId="1076"/>
          <ac:spMkLst>
            <pc:docMk/>
            <pc:sldMk cId="353997096" sldId="4092"/>
            <ac:spMk id="7" creationId="{EDC8A691-5185-860F-84AA-0E44A4BFCA1C}"/>
          </ac:spMkLst>
        </pc:spChg>
        <pc:spChg chg="add mod">
          <ac:chgData name="Rizky Fajar" userId="490a5c0ae4650a6d" providerId="LiveId" clId="{5666174E-1FDC-4381-AE72-96AAAE51F635}" dt="2025-02-19T13:07:04.980" v="31274" actId="1076"/>
          <ac:spMkLst>
            <pc:docMk/>
            <pc:sldMk cId="353997096" sldId="4092"/>
            <ac:spMk id="9" creationId="{C8D4822C-DA18-64AD-461E-D26750095DA9}"/>
          </ac:spMkLst>
        </pc:spChg>
        <pc:spChg chg="add mod">
          <ac:chgData name="Rizky Fajar" userId="490a5c0ae4650a6d" providerId="LiveId" clId="{5666174E-1FDC-4381-AE72-96AAAE51F635}" dt="2025-02-19T13:07:04.980" v="31274" actId="1076"/>
          <ac:spMkLst>
            <pc:docMk/>
            <pc:sldMk cId="353997096" sldId="4092"/>
            <ac:spMk id="10" creationId="{A6A0AD0D-1608-FB00-3675-BDC71F988EDC}"/>
          </ac:spMkLst>
        </pc:spChg>
        <pc:spChg chg="mod">
          <ac:chgData name="Rizky Fajar" userId="490a5c0ae4650a6d" providerId="LiveId" clId="{5666174E-1FDC-4381-AE72-96AAAE51F635}" dt="2025-02-19T13:11:39.162" v="31330" actId="20577"/>
          <ac:spMkLst>
            <pc:docMk/>
            <pc:sldMk cId="353997096" sldId="4092"/>
            <ac:spMk id="13" creationId="{18B882B4-40C8-DC84-30B1-0A7A0054E19C}"/>
          </ac:spMkLst>
        </pc:spChg>
        <pc:spChg chg="mod">
          <ac:chgData name="Rizky Fajar" userId="490a5c0ae4650a6d" providerId="LiveId" clId="{5666174E-1FDC-4381-AE72-96AAAE51F635}" dt="2025-02-19T13:04:45.156" v="31242" actId="404"/>
          <ac:spMkLst>
            <pc:docMk/>
            <pc:sldMk cId="353997096" sldId="4092"/>
            <ac:spMk id="32" creationId="{ACFA400E-A31A-176F-350C-93F7604A2013}"/>
          </ac:spMkLst>
        </pc:spChg>
        <pc:spChg chg="mod">
          <ac:chgData name="Rizky Fajar" userId="490a5c0ae4650a6d" providerId="LiveId" clId="{5666174E-1FDC-4381-AE72-96AAAE51F635}" dt="2025-02-19T13:04:42.668" v="31241" actId="14100"/>
          <ac:spMkLst>
            <pc:docMk/>
            <pc:sldMk cId="353997096" sldId="4092"/>
            <ac:spMk id="33" creationId="{DC6BE6AB-BDAD-DB58-D2F7-2C04173BD5C5}"/>
          </ac:spMkLst>
        </pc:spChg>
        <pc:spChg chg="mod">
          <ac:chgData name="Rizky Fajar" userId="490a5c0ae4650a6d" providerId="LiveId" clId="{5666174E-1FDC-4381-AE72-96AAAE51F635}" dt="2025-02-19T13:03:43.452" v="31209" actId="1076"/>
          <ac:spMkLst>
            <pc:docMk/>
            <pc:sldMk cId="353997096" sldId="4092"/>
            <ac:spMk id="38" creationId="{EC839E54-1169-A2B0-BF2C-5198383BB387}"/>
          </ac:spMkLst>
        </pc:spChg>
        <pc:spChg chg="mod">
          <ac:chgData name="Rizky Fajar" userId="490a5c0ae4650a6d" providerId="LiveId" clId="{5666174E-1FDC-4381-AE72-96AAAE51F635}" dt="2025-02-19T13:07:04.980" v="31274" actId="1076"/>
          <ac:spMkLst>
            <pc:docMk/>
            <pc:sldMk cId="353997096" sldId="4092"/>
            <ac:spMk id="39" creationId="{EE7AE327-365D-F656-A780-7A19AFD7BEA1}"/>
          </ac:spMkLst>
        </pc:spChg>
        <pc:spChg chg="mod">
          <ac:chgData name="Rizky Fajar" userId="490a5c0ae4650a6d" providerId="LiveId" clId="{5666174E-1FDC-4381-AE72-96AAAE51F635}" dt="2025-02-19T13:03:43.452" v="31209" actId="1076"/>
          <ac:spMkLst>
            <pc:docMk/>
            <pc:sldMk cId="353997096" sldId="4092"/>
            <ac:spMk id="49" creationId="{FF904918-DE88-91C2-0CCC-DD36D796F418}"/>
          </ac:spMkLst>
        </pc:spChg>
        <pc:spChg chg="mod">
          <ac:chgData name="Rizky Fajar" userId="490a5c0ae4650a6d" providerId="LiveId" clId="{5666174E-1FDC-4381-AE72-96AAAE51F635}" dt="2025-02-19T13:03:43.452" v="31209" actId="1076"/>
          <ac:spMkLst>
            <pc:docMk/>
            <pc:sldMk cId="353997096" sldId="4092"/>
            <ac:spMk id="50" creationId="{E4CCF87E-9960-8BF1-5B59-746875408B16}"/>
          </ac:spMkLst>
        </pc:spChg>
        <pc:spChg chg="mod">
          <ac:chgData name="Rizky Fajar" userId="490a5c0ae4650a6d" providerId="LiveId" clId="{5666174E-1FDC-4381-AE72-96AAAE51F635}" dt="2025-02-19T13:07:04.980" v="31274" actId="1076"/>
          <ac:spMkLst>
            <pc:docMk/>
            <pc:sldMk cId="353997096" sldId="4092"/>
            <ac:spMk id="51" creationId="{1F8B3CC8-9F33-961B-1C69-E6BF64C64F43}"/>
          </ac:spMkLst>
        </pc:spChg>
        <pc:spChg chg="mod">
          <ac:chgData name="Rizky Fajar" userId="490a5c0ae4650a6d" providerId="LiveId" clId="{5666174E-1FDC-4381-AE72-96AAAE51F635}" dt="2025-02-19T13:03:33.639" v="31208" actId="1076"/>
          <ac:spMkLst>
            <pc:docMk/>
            <pc:sldMk cId="353997096" sldId="4092"/>
            <ac:spMk id="52" creationId="{65776725-1D7E-6EB3-7DB6-487539FFE262}"/>
          </ac:spMkLst>
        </pc:spChg>
        <pc:spChg chg="mod">
          <ac:chgData name="Rizky Fajar" userId="490a5c0ae4650a6d" providerId="LiveId" clId="{5666174E-1FDC-4381-AE72-96AAAE51F635}" dt="2025-02-19T13:07:04.980" v="31274" actId="1076"/>
          <ac:spMkLst>
            <pc:docMk/>
            <pc:sldMk cId="353997096" sldId="4092"/>
            <ac:spMk id="53" creationId="{095C78B3-940A-0CDF-7281-EADBC610A2B4}"/>
          </ac:spMkLst>
        </pc:spChg>
        <pc:spChg chg="mod">
          <ac:chgData name="Rizky Fajar" userId="490a5c0ae4650a6d" providerId="LiveId" clId="{5666174E-1FDC-4381-AE72-96AAAE51F635}" dt="2025-02-19T13:03:43.452" v="31209" actId="1076"/>
          <ac:spMkLst>
            <pc:docMk/>
            <pc:sldMk cId="353997096" sldId="4092"/>
            <ac:spMk id="54" creationId="{295EAD86-0B44-E195-6D60-E7D1CD1ABCA3}"/>
          </ac:spMkLst>
        </pc:spChg>
        <pc:spChg chg="mod">
          <ac:chgData name="Rizky Fajar" userId="490a5c0ae4650a6d" providerId="LiveId" clId="{5666174E-1FDC-4381-AE72-96AAAE51F635}" dt="2025-02-19T13:05:21.329" v="31250"/>
          <ac:spMkLst>
            <pc:docMk/>
            <pc:sldMk cId="353997096" sldId="4092"/>
            <ac:spMk id="62" creationId="{0B54A72E-F099-9A6B-66CC-8AD7C3658B9C}"/>
          </ac:spMkLst>
        </pc:spChg>
        <pc:spChg chg="mod">
          <ac:chgData name="Rizky Fajar" userId="490a5c0ae4650a6d" providerId="LiveId" clId="{5666174E-1FDC-4381-AE72-96AAAE51F635}" dt="2025-02-19T13:05:21.329" v="31250"/>
          <ac:spMkLst>
            <pc:docMk/>
            <pc:sldMk cId="353997096" sldId="4092"/>
            <ac:spMk id="63" creationId="{FEB3FA2C-AB0D-3C72-731D-E27D861181A6}"/>
          </ac:spMkLst>
        </pc:spChg>
        <pc:spChg chg="mod">
          <ac:chgData name="Rizky Fajar" userId="490a5c0ae4650a6d" providerId="LiveId" clId="{5666174E-1FDC-4381-AE72-96AAAE51F635}" dt="2025-02-19T13:07:04.980" v="31274" actId="1076"/>
          <ac:spMkLst>
            <pc:docMk/>
            <pc:sldMk cId="353997096" sldId="4092"/>
            <ac:spMk id="108" creationId="{9E1FD526-6B45-0659-CDA2-EAFF46F4F91D}"/>
          </ac:spMkLst>
        </pc:spChg>
        <pc:spChg chg="mod">
          <ac:chgData name="Rizky Fajar" userId="490a5c0ae4650a6d" providerId="LiveId" clId="{5666174E-1FDC-4381-AE72-96AAAE51F635}" dt="2025-02-19T13:07:04.980" v="31274" actId="1076"/>
          <ac:spMkLst>
            <pc:docMk/>
            <pc:sldMk cId="353997096" sldId="4092"/>
            <ac:spMk id="109" creationId="{B663EA17-1339-3AF7-DB5A-952A6BC3247D}"/>
          </ac:spMkLst>
        </pc:spChg>
        <pc:spChg chg="mod">
          <ac:chgData name="Rizky Fajar" userId="490a5c0ae4650a6d" providerId="LiveId" clId="{5666174E-1FDC-4381-AE72-96AAAE51F635}" dt="2025-02-19T13:07:04.980" v="31274" actId="1076"/>
          <ac:spMkLst>
            <pc:docMk/>
            <pc:sldMk cId="353997096" sldId="4092"/>
            <ac:spMk id="114" creationId="{D23F0354-1A43-3594-E072-78EF7EB44EC7}"/>
          </ac:spMkLst>
        </pc:spChg>
        <pc:spChg chg="mod">
          <ac:chgData name="Rizky Fajar" userId="490a5c0ae4650a6d" providerId="LiveId" clId="{5666174E-1FDC-4381-AE72-96AAAE51F635}" dt="2025-02-19T13:07:04.980" v="31274" actId="1076"/>
          <ac:spMkLst>
            <pc:docMk/>
            <pc:sldMk cId="353997096" sldId="4092"/>
            <ac:spMk id="214" creationId="{D44F30F4-EFC9-7B0E-B2D5-E3027E5032CE}"/>
          </ac:spMkLst>
        </pc:spChg>
        <pc:spChg chg="mod">
          <ac:chgData name="Rizky Fajar" userId="490a5c0ae4650a6d" providerId="LiveId" clId="{5666174E-1FDC-4381-AE72-96AAAE51F635}" dt="2025-02-19T13:07:04.980" v="31274" actId="1076"/>
          <ac:spMkLst>
            <pc:docMk/>
            <pc:sldMk cId="353997096" sldId="4092"/>
            <ac:spMk id="222" creationId="{A3E13DAA-563F-A157-15A0-101685CEE329}"/>
          </ac:spMkLst>
        </pc:spChg>
        <pc:spChg chg="mod topLvl">
          <ac:chgData name="Rizky Fajar" userId="490a5c0ae4650a6d" providerId="LiveId" clId="{5666174E-1FDC-4381-AE72-96AAAE51F635}" dt="2025-02-19T13:06:50.348" v="31270" actId="164"/>
          <ac:spMkLst>
            <pc:docMk/>
            <pc:sldMk cId="353997096" sldId="4092"/>
            <ac:spMk id="396" creationId="{C4463831-1B14-F925-133D-636448B97BE6}"/>
          </ac:spMkLst>
        </pc:spChg>
        <pc:spChg chg="mod topLvl">
          <ac:chgData name="Rizky Fajar" userId="490a5c0ae4650a6d" providerId="LiveId" clId="{5666174E-1FDC-4381-AE72-96AAAE51F635}" dt="2025-02-19T13:06:50.348" v="31270" actId="164"/>
          <ac:spMkLst>
            <pc:docMk/>
            <pc:sldMk cId="353997096" sldId="4092"/>
            <ac:spMk id="406" creationId="{EBD1F8CA-1954-29DD-9B36-599A06A69540}"/>
          </ac:spMkLst>
        </pc:spChg>
        <pc:spChg chg="mod topLvl">
          <ac:chgData name="Rizky Fajar" userId="490a5c0ae4650a6d" providerId="LiveId" clId="{5666174E-1FDC-4381-AE72-96AAAE51F635}" dt="2025-02-19T13:06:53.874" v="31271" actId="164"/>
          <ac:spMkLst>
            <pc:docMk/>
            <pc:sldMk cId="353997096" sldId="4092"/>
            <ac:spMk id="414" creationId="{B829226D-6DB3-618E-7C68-66A81D1AE5FC}"/>
          </ac:spMkLst>
        </pc:spChg>
        <pc:grpChg chg="add mod">
          <ac:chgData name="Rizky Fajar" userId="490a5c0ae4650a6d" providerId="LiveId" clId="{5666174E-1FDC-4381-AE72-96AAAE51F635}" dt="2025-02-19T13:04:56.024" v="31245" actId="164"/>
          <ac:grpSpMkLst>
            <pc:docMk/>
            <pc:sldMk cId="353997096" sldId="4092"/>
            <ac:grpSpMk id="19" creationId="{21D805A1-B88C-7A4B-74CB-424E2DE5A49E}"/>
          </ac:grpSpMkLst>
        </pc:grpChg>
        <pc:grpChg chg="del mod">
          <ac:chgData name="Rizky Fajar" userId="490a5c0ae4650a6d" providerId="LiveId" clId="{5666174E-1FDC-4381-AE72-96AAAE51F635}" dt="2025-02-19T13:04:31.197" v="31234" actId="478"/>
          <ac:grpSpMkLst>
            <pc:docMk/>
            <pc:sldMk cId="353997096" sldId="4092"/>
            <ac:grpSpMk id="21" creationId="{0DC1E548-4426-00B3-B7EC-CFD7DAA3BBA5}"/>
          </ac:grpSpMkLst>
        </pc:grpChg>
        <pc:grpChg chg="add mod">
          <ac:chgData name="Rizky Fajar" userId="490a5c0ae4650a6d" providerId="LiveId" clId="{5666174E-1FDC-4381-AE72-96AAAE51F635}" dt="2025-02-19T13:06:10.502" v="31263" actId="1076"/>
          <ac:grpSpMkLst>
            <pc:docMk/>
            <pc:sldMk cId="353997096" sldId="4092"/>
            <ac:grpSpMk id="56" creationId="{138FD373-60EF-CD07-ADB2-43D745897D25}"/>
          </ac:grpSpMkLst>
        </pc:grpChg>
        <pc:grpChg chg="add mod">
          <ac:chgData name="Rizky Fajar" userId="490a5c0ae4650a6d" providerId="LiveId" clId="{5666174E-1FDC-4381-AE72-96AAAE51F635}" dt="2025-02-19T13:06:31.621" v="31268" actId="14100"/>
          <ac:grpSpMkLst>
            <pc:docMk/>
            <pc:sldMk cId="353997096" sldId="4092"/>
            <ac:grpSpMk id="61" creationId="{D7744B28-41A8-E944-A84C-5E57233CEF22}"/>
          </ac:grpSpMkLst>
        </pc:grpChg>
        <pc:grpChg chg="add mod">
          <ac:chgData name="Rizky Fajar" userId="490a5c0ae4650a6d" providerId="LiveId" clId="{5666174E-1FDC-4381-AE72-96AAAE51F635}" dt="2025-02-19T13:06:57.194" v="31272" actId="1076"/>
          <ac:grpSpMkLst>
            <pc:docMk/>
            <pc:sldMk cId="353997096" sldId="4092"/>
            <ac:grpSpMk id="72" creationId="{60F5D647-7803-D7B8-DE84-FEF942344A9D}"/>
          </ac:grpSpMkLst>
        </pc:grpChg>
        <pc:grpChg chg="add mod">
          <ac:chgData name="Rizky Fajar" userId="490a5c0ae4650a6d" providerId="LiveId" clId="{5666174E-1FDC-4381-AE72-96AAAE51F635}" dt="2025-02-19T13:07:26.996" v="31276" actId="1076"/>
          <ac:grpSpMkLst>
            <pc:docMk/>
            <pc:sldMk cId="353997096" sldId="4092"/>
            <ac:grpSpMk id="73" creationId="{E099CA32-5508-5E5F-09B5-222BCD2CF01B}"/>
          </ac:grpSpMkLst>
        </pc:grpChg>
        <pc:grpChg chg="del">
          <ac:chgData name="Rizky Fajar" userId="490a5c0ae4650a6d" providerId="LiveId" clId="{5666174E-1FDC-4381-AE72-96AAAE51F635}" dt="2025-02-19T13:06:44.053" v="31269" actId="165"/>
          <ac:grpSpMkLst>
            <pc:docMk/>
            <pc:sldMk cId="353997096" sldId="4092"/>
            <ac:grpSpMk id="415" creationId="{3040F04E-783A-AB62-3BE5-5DDA1C32DE7B}"/>
          </ac:grpSpMkLst>
        </pc:grpChg>
        <pc:picChg chg="add del mod">
          <ac:chgData name="Rizky Fajar" userId="490a5c0ae4650a6d" providerId="LiveId" clId="{5666174E-1FDC-4381-AE72-96AAAE51F635}" dt="2025-02-19T13:07:07.945" v="31275" actId="478"/>
          <ac:picMkLst>
            <pc:docMk/>
            <pc:sldMk cId="353997096" sldId="4092"/>
            <ac:picMk id="15" creationId="{DCDFD7AB-AA33-F3E2-A05A-30C2BB3B9DFA}"/>
          </ac:picMkLst>
        </pc:picChg>
        <pc:picChg chg="mod">
          <ac:chgData name="Rizky Fajar" userId="490a5c0ae4650a6d" providerId="LiveId" clId="{5666174E-1FDC-4381-AE72-96AAAE51F635}" dt="2025-02-19T13:01:08.866" v="31031" actId="1076"/>
          <ac:picMkLst>
            <pc:docMk/>
            <pc:sldMk cId="353997096" sldId="4092"/>
            <ac:picMk id="20" creationId="{6AFBF68F-9DEB-BE2D-0B4A-11ACCC6B4627}"/>
          </ac:picMkLst>
        </pc:picChg>
        <pc:picChg chg="del mod">
          <ac:chgData name="Rizky Fajar" userId="490a5c0ae4650a6d" providerId="LiveId" clId="{5666174E-1FDC-4381-AE72-96AAAE51F635}" dt="2025-02-19T13:04:31.197" v="31234" actId="478"/>
          <ac:picMkLst>
            <pc:docMk/>
            <pc:sldMk cId="353997096" sldId="4092"/>
            <ac:picMk id="37" creationId="{ECC293D8-F4EC-9401-2304-90FDDD37C5A6}"/>
          </ac:picMkLst>
        </pc:picChg>
        <pc:picChg chg="add mod">
          <ac:chgData name="Rizky Fajar" userId="490a5c0ae4650a6d" providerId="LiveId" clId="{5666174E-1FDC-4381-AE72-96AAAE51F635}" dt="2025-02-19T13:04:56.024" v="31245" actId="164"/>
          <ac:picMkLst>
            <pc:docMk/>
            <pc:sldMk cId="353997096" sldId="4092"/>
            <ac:picMk id="55" creationId="{749A9B8B-511F-FFC0-C58E-BF5986D7001A}"/>
          </ac:picMkLst>
        </pc:picChg>
        <pc:picChg chg="mod">
          <ac:chgData name="Rizky Fajar" userId="490a5c0ae4650a6d" providerId="LiveId" clId="{5666174E-1FDC-4381-AE72-96AAAE51F635}" dt="2025-02-19T13:05:21.329" v="31250"/>
          <ac:picMkLst>
            <pc:docMk/>
            <pc:sldMk cId="353997096" sldId="4092"/>
            <ac:picMk id="64" creationId="{B713806D-0257-B073-4FC5-C053D1903E1A}"/>
          </ac:picMkLst>
        </pc:picChg>
        <pc:cxnChg chg="add mod">
          <ac:chgData name="Rizky Fajar" userId="490a5c0ae4650a6d" providerId="LiveId" clId="{5666174E-1FDC-4381-AE72-96AAAE51F635}" dt="2025-02-19T13:06:10.502" v="31263" actId="1076"/>
          <ac:cxnSpMkLst>
            <pc:docMk/>
            <pc:sldMk cId="353997096" sldId="4092"/>
            <ac:cxnSpMk id="57" creationId="{89705F5E-CDD9-5C02-9B6A-89B7FF73760E}"/>
          </ac:cxnSpMkLst>
        </pc:cxnChg>
        <pc:cxnChg chg="add mod">
          <ac:chgData name="Rizky Fajar" userId="490a5c0ae4650a6d" providerId="LiveId" clId="{5666174E-1FDC-4381-AE72-96AAAE51F635}" dt="2025-02-19T13:06:31.621" v="31268" actId="14100"/>
          <ac:cxnSpMkLst>
            <pc:docMk/>
            <pc:sldMk cId="353997096" sldId="4092"/>
            <ac:cxnSpMk id="66" creationId="{831C7D1A-8056-AFF4-4B42-D6EC124CDF5F}"/>
          </ac:cxnSpMkLst>
        </pc:cxnChg>
        <pc:cxnChg chg="mod">
          <ac:chgData name="Rizky Fajar" userId="490a5c0ae4650a6d" providerId="LiveId" clId="{5666174E-1FDC-4381-AE72-96AAAE51F635}" dt="2025-02-19T13:03:30.540" v="31205" actId="14100"/>
          <ac:cxnSpMkLst>
            <pc:docMk/>
            <pc:sldMk cId="353997096" sldId="4092"/>
            <ac:cxnSpMk id="95" creationId="{4FDF2640-0941-DF5E-25C3-E94BC3CF74B8}"/>
          </ac:cxnSpMkLst>
        </pc:cxnChg>
        <pc:cxnChg chg="mod">
          <ac:chgData name="Rizky Fajar" userId="490a5c0ae4650a6d" providerId="LiveId" clId="{5666174E-1FDC-4381-AE72-96AAAE51F635}" dt="2025-02-19T13:03:31.980" v="31206" actId="14100"/>
          <ac:cxnSpMkLst>
            <pc:docMk/>
            <pc:sldMk cId="353997096" sldId="4092"/>
            <ac:cxnSpMk id="99" creationId="{66481879-C0D1-ECE8-BE91-A4FC3C3B1DB2}"/>
          </ac:cxnSpMkLst>
        </pc:cxnChg>
        <pc:cxnChg chg="mod topLvl">
          <ac:chgData name="Rizky Fajar" userId="490a5c0ae4650a6d" providerId="LiveId" clId="{5666174E-1FDC-4381-AE72-96AAAE51F635}" dt="2025-02-19T13:06:50.348" v="31270" actId="164"/>
          <ac:cxnSpMkLst>
            <pc:docMk/>
            <pc:sldMk cId="353997096" sldId="4092"/>
            <ac:cxnSpMk id="401" creationId="{DEB36C97-EF29-AB7F-20A6-64B5EDBB0684}"/>
          </ac:cxnSpMkLst>
        </pc:cxnChg>
        <pc:cxnChg chg="mod topLvl">
          <ac:chgData name="Rizky Fajar" userId="490a5c0ae4650a6d" providerId="LiveId" clId="{5666174E-1FDC-4381-AE72-96AAAE51F635}" dt="2025-02-19T13:06:53.874" v="31271" actId="164"/>
          <ac:cxnSpMkLst>
            <pc:docMk/>
            <pc:sldMk cId="353997096" sldId="4092"/>
            <ac:cxnSpMk id="408" creationId="{0CF0535B-58EC-4C18-9FEA-C4E620E9258E}"/>
          </ac:cxnSpMkLst>
        </pc:cxnChg>
      </pc:sldChg>
      <pc:sldChg chg="addSp delSp modSp add mod">
        <pc:chgData name="Rizky Fajar" userId="490a5c0ae4650a6d" providerId="LiveId" clId="{5666174E-1FDC-4381-AE72-96AAAE51F635}" dt="2025-02-19T13:28:29.716" v="32249" actId="1076"/>
        <pc:sldMkLst>
          <pc:docMk/>
          <pc:sldMk cId="1068833788" sldId="4093"/>
        </pc:sldMkLst>
        <pc:spChg chg="mod">
          <ac:chgData name="Rizky Fajar" userId="490a5c0ae4650a6d" providerId="LiveId" clId="{5666174E-1FDC-4381-AE72-96AAAE51F635}" dt="2025-02-19T13:28:29.716" v="32249" actId="1076"/>
          <ac:spMkLst>
            <pc:docMk/>
            <pc:sldMk cId="1068833788" sldId="4093"/>
            <ac:spMk id="5" creationId="{64665A0B-19F2-A9C0-245B-57878D4B930B}"/>
          </ac:spMkLst>
        </pc:spChg>
        <pc:spChg chg="mod">
          <ac:chgData name="Rizky Fajar" userId="490a5c0ae4650a6d" providerId="LiveId" clId="{5666174E-1FDC-4381-AE72-96AAAE51F635}" dt="2025-02-19T13:28:24.183" v="32246" actId="20577"/>
          <ac:spMkLst>
            <pc:docMk/>
            <pc:sldMk cId="1068833788" sldId="4093"/>
            <ac:spMk id="6" creationId="{70CF4594-B490-6EF3-FF3E-544518846EAC}"/>
          </ac:spMkLst>
        </pc:spChg>
        <pc:spChg chg="del">
          <ac:chgData name="Rizky Fajar" userId="490a5c0ae4650a6d" providerId="LiveId" clId="{5666174E-1FDC-4381-AE72-96AAAE51F635}" dt="2025-02-19T13:12:39.829" v="31336" actId="478"/>
          <ac:spMkLst>
            <pc:docMk/>
            <pc:sldMk cId="1068833788" sldId="4093"/>
            <ac:spMk id="7" creationId="{1D3DB8D9-EF70-A09F-20EF-6875DE69A2AC}"/>
          </ac:spMkLst>
        </pc:spChg>
        <pc:spChg chg="add mod">
          <ac:chgData name="Rizky Fajar" userId="490a5c0ae4650a6d" providerId="LiveId" clId="{5666174E-1FDC-4381-AE72-96AAAE51F635}" dt="2025-02-19T13:17:36.936" v="31947" actId="113"/>
          <ac:spMkLst>
            <pc:docMk/>
            <pc:sldMk cId="1068833788" sldId="4093"/>
            <ac:spMk id="16" creationId="{A0D68FA9-A2B9-F579-FE73-DCEB785434B7}"/>
          </ac:spMkLst>
        </pc:spChg>
        <pc:spChg chg="mod">
          <ac:chgData name="Rizky Fajar" userId="490a5c0ae4650a6d" providerId="LiveId" clId="{5666174E-1FDC-4381-AE72-96AAAE51F635}" dt="2025-02-19T13:13:39.142" v="31351" actId="21"/>
          <ac:spMkLst>
            <pc:docMk/>
            <pc:sldMk cId="1068833788" sldId="4093"/>
            <ac:spMk id="17" creationId="{909CE2F5-68EC-498C-C47F-7526BCDC4D9C}"/>
          </ac:spMkLst>
        </pc:spChg>
        <pc:spChg chg="del">
          <ac:chgData name="Rizky Fajar" userId="490a5c0ae4650a6d" providerId="LiveId" clId="{5666174E-1FDC-4381-AE72-96AAAE51F635}" dt="2025-02-19T13:12:39.829" v="31336" actId="478"/>
          <ac:spMkLst>
            <pc:docMk/>
            <pc:sldMk cId="1068833788" sldId="4093"/>
            <ac:spMk id="19" creationId="{B6AC1137-8A0A-796B-29D7-FBD6262C92F7}"/>
          </ac:spMkLst>
        </pc:spChg>
        <pc:spChg chg="del">
          <ac:chgData name="Rizky Fajar" userId="490a5c0ae4650a6d" providerId="LiveId" clId="{5666174E-1FDC-4381-AE72-96AAAE51F635}" dt="2025-02-19T13:12:39.829" v="31336" actId="478"/>
          <ac:spMkLst>
            <pc:docMk/>
            <pc:sldMk cId="1068833788" sldId="4093"/>
            <ac:spMk id="21" creationId="{AED67AE4-D4EE-F0C6-2CD3-A69D82ECAA16}"/>
          </ac:spMkLst>
        </pc:spChg>
        <pc:spChg chg="del">
          <ac:chgData name="Rizky Fajar" userId="490a5c0ae4650a6d" providerId="LiveId" clId="{5666174E-1FDC-4381-AE72-96AAAE51F635}" dt="2025-02-19T13:12:39.829" v="31336" actId="478"/>
          <ac:spMkLst>
            <pc:docMk/>
            <pc:sldMk cId="1068833788" sldId="4093"/>
            <ac:spMk id="22" creationId="{1E6ACFA2-69FC-5887-B950-09FAFB6E4BB9}"/>
          </ac:spMkLst>
        </pc:spChg>
        <pc:spChg chg="add mod">
          <ac:chgData name="Rizky Fajar" userId="490a5c0ae4650a6d" providerId="LiveId" clId="{5666174E-1FDC-4381-AE72-96AAAE51F635}" dt="2025-02-19T13:16:40.820" v="31752" actId="1076"/>
          <ac:spMkLst>
            <pc:docMk/>
            <pc:sldMk cId="1068833788" sldId="4093"/>
            <ac:spMk id="24" creationId="{28B90DDF-5983-768C-6F83-F57E091F5181}"/>
          </ac:spMkLst>
        </pc:spChg>
        <pc:spChg chg="add mod">
          <ac:chgData name="Rizky Fajar" userId="490a5c0ae4650a6d" providerId="LiveId" clId="{5666174E-1FDC-4381-AE72-96AAAE51F635}" dt="2025-02-19T13:18:20.570" v="31952" actId="1076"/>
          <ac:spMkLst>
            <pc:docMk/>
            <pc:sldMk cId="1068833788" sldId="4093"/>
            <ac:spMk id="25" creationId="{7D5BA6A2-5040-B1E9-1BA1-FECBADB3F3C1}"/>
          </ac:spMkLst>
        </pc:spChg>
        <pc:spChg chg="del">
          <ac:chgData name="Rizky Fajar" userId="490a5c0ae4650a6d" providerId="LiveId" clId="{5666174E-1FDC-4381-AE72-96AAAE51F635}" dt="2025-02-19T13:12:39.829" v="31336" actId="478"/>
          <ac:spMkLst>
            <pc:docMk/>
            <pc:sldMk cId="1068833788" sldId="4093"/>
            <ac:spMk id="26" creationId="{E82FC431-C545-33D0-C551-0AB6282CD8C5}"/>
          </ac:spMkLst>
        </pc:spChg>
        <pc:spChg chg="add mod">
          <ac:chgData name="Rizky Fajar" userId="490a5c0ae4650a6d" providerId="LiveId" clId="{5666174E-1FDC-4381-AE72-96AAAE51F635}" dt="2025-02-19T13:16:44.880" v="31754" actId="1076"/>
          <ac:spMkLst>
            <pc:docMk/>
            <pc:sldMk cId="1068833788" sldId="4093"/>
            <ac:spMk id="28" creationId="{E667F234-A381-0F12-27B8-19310F0D3435}"/>
          </ac:spMkLst>
        </pc:spChg>
        <pc:spChg chg="del">
          <ac:chgData name="Rizky Fajar" userId="490a5c0ae4650a6d" providerId="LiveId" clId="{5666174E-1FDC-4381-AE72-96AAAE51F635}" dt="2025-02-19T13:12:39.829" v="31336" actId="478"/>
          <ac:spMkLst>
            <pc:docMk/>
            <pc:sldMk cId="1068833788" sldId="4093"/>
            <ac:spMk id="43" creationId="{2769E4D3-5AE2-57C9-F0A0-1383CC559107}"/>
          </ac:spMkLst>
        </pc:spChg>
        <pc:spChg chg="del">
          <ac:chgData name="Rizky Fajar" userId="490a5c0ae4650a6d" providerId="LiveId" clId="{5666174E-1FDC-4381-AE72-96AAAE51F635}" dt="2025-02-19T13:12:27.859" v="31335" actId="478"/>
          <ac:spMkLst>
            <pc:docMk/>
            <pc:sldMk cId="1068833788" sldId="4093"/>
            <ac:spMk id="45" creationId="{6C707EBA-E800-B82F-0629-C0FA7290388C}"/>
          </ac:spMkLst>
        </pc:spChg>
        <pc:spChg chg="del">
          <ac:chgData name="Rizky Fajar" userId="490a5c0ae4650a6d" providerId="LiveId" clId="{5666174E-1FDC-4381-AE72-96AAAE51F635}" dt="2025-02-19T13:12:27.859" v="31335" actId="478"/>
          <ac:spMkLst>
            <pc:docMk/>
            <pc:sldMk cId="1068833788" sldId="4093"/>
            <ac:spMk id="47" creationId="{CB2D0DDF-1D5F-01F1-7360-120824B26D09}"/>
          </ac:spMkLst>
        </pc:spChg>
        <pc:spChg chg="del">
          <ac:chgData name="Rizky Fajar" userId="490a5c0ae4650a6d" providerId="LiveId" clId="{5666174E-1FDC-4381-AE72-96AAAE51F635}" dt="2025-02-19T13:12:27.859" v="31335" actId="478"/>
          <ac:spMkLst>
            <pc:docMk/>
            <pc:sldMk cId="1068833788" sldId="4093"/>
            <ac:spMk id="53" creationId="{52413368-F271-07A3-1F80-37CB3EAA2870}"/>
          </ac:spMkLst>
        </pc:spChg>
        <pc:spChg chg="del">
          <ac:chgData name="Rizky Fajar" userId="490a5c0ae4650a6d" providerId="LiveId" clId="{5666174E-1FDC-4381-AE72-96AAAE51F635}" dt="2025-02-19T13:12:27.859" v="31335" actId="478"/>
          <ac:spMkLst>
            <pc:docMk/>
            <pc:sldMk cId="1068833788" sldId="4093"/>
            <ac:spMk id="60" creationId="{F15F05C1-1837-9576-975B-F14B347746F5}"/>
          </ac:spMkLst>
        </pc:spChg>
        <pc:spChg chg="del">
          <ac:chgData name="Rizky Fajar" userId="490a5c0ae4650a6d" providerId="LiveId" clId="{5666174E-1FDC-4381-AE72-96AAAE51F635}" dt="2025-02-19T13:12:27.859" v="31335" actId="478"/>
          <ac:spMkLst>
            <pc:docMk/>
            <pc:sldMk cId="1068833788" sldId="4093"/>
            <ac:spMk id="61" creationId="{2F1654EB-E424-4697-9BB0-A9C295B7B5F4}"/>
          </ac:spMkLst>
        </pc:spChg>
        <pc:spChg chg="del">
          <ac:chgData name="Rizky Fajar" userId="490a5c0ae4650a6d" providerId="LiveId" clId="{5666174E-1FDC-4381-AE72-96AAAE51F635}" dt="2025-02-19T13:12:27.859" v="31335" actId="478"/>
          <ac:spMkLst>
            <pc:docMk/>
            <pc:sldMk cId="1068833788" sldId="4093"/>
            <ac:spMk id="63" creationId="{43BE18F8-D0AB-EBFC-6C75-B76D18A7216B}"/>
          </ac:spMkLst>
        </pc:spChg>
        <pc:picChg chg="add mod">
          <ac:chgData name="Rizky Fajar" userId="490a5c0ae4650a6d" providerId="LiveId" clId="{5666174E-1FDC-4381-AE72-96AAAE51F635}" dt="2025-02-19T13:18:20.570" v="31952" actId="1076"/>
          <ac:picMkLst>
            <pc:docMk/>
            <pc:sldMk cId="1068833788" sldId="4093"/>
            <ac:picMk id="10" creationId="{2717EABF-CB05-75D1-769A-95B380642F60}"/>
          </ac:picMkLst>
        </pc:picChg>
        <pc:picChg chg="add mod">
          <ac:chgData name="Rizky Fajar" userId="490a5c0ae4650a6d" providerId="LiveId" clId="{5666174E-1FDC-4381-AE72-96AAAE51F635}" dt="2025-02-19T13:16:40.820" v="31752" actId="1076"/>
          <ac:picMkLst>
            <pc:docMk/>
            <pc:sldMk cId="1068833788" sldId="4093"/>
            <ac:picMk id="14" creationId="{4AFAAFAC-194B-4C25-1013-BBA2B0775A52}"/>
          </ac:picMkLst>
        </pc:picChg>
        <pc:picChg chg="del">
          <ac:chgData name="Rizky Fajar" userId="490a5c0ae4650a6d" providerId="LiveId" clId="{5666174E-1FDC-4381-AE72-96AAAE51F635}" dt="2025-02-19T13:12:39.829" v="31336" actId="478"/>
          <ac:picMkLst>
            <pc:docMk/>
            <pc:sldMk cId="1068833788" sldId="4093"/>
            <ac:picMk id="20" creationId="{323DC911-0226-7CBF-BF15-8023BA13D8EF}"/>
          </ac:picMkLst>
        </pc:picChg>
        <pc:picChg chg="add mod">
          <ac:chgData name="Rizky Fajar" userId="490a5c0ae4650a6d" providerId="LiveId" clId="{5666174E-1FDC-4381-AE72-96AAAE51F635}" dt="2025-02-19T13:16:44.880" v="31754" actId="1076"/>
          <ac:picMkLst>
            <pc:docMk/>
            <pc:sldMk cId="1068833788" sldId="4093"/>
            <ac:picMk id="27" creationId="{EEF82459-80E2-E354-F428-857D29AFC91A}"/>
          </ac:picMkLst>
        </pc:picChg>
        <pc:picChg chg="del">
          <ac:chgData name="Rizky Fajar" userId="490a5c0ae4650a6d" providerId="LiveId" clId="{5666174E-1FDC-4381-AE72-96AAAE51F635}" dt="2025-02-19T13:12:39.829" v="31336" actId="478"/>
          <ac:picMkLst>
            <pc:docMk/>
            <pc:sldMk cId="1068833788" sldId="4093"/>
            <ac:picMk id="40" creationId="{ECAA2F56-6306-1AA0-EC36-A948BBA6A2B3}"/>
          </ac:picMkLst>
        </pc:picChg>
        <pc:picChg chg="del">
          <ac:chgData name="Rizky Fajar" userId="490a5c0ae4650a6d" providerId="LiveId" clId="{5666174E-1FDC-4381-AE72-96AAAE51F635}" dt="2025-02-19T13:12:39.829" v="31336" actId="478"/>
          <ac:picMkLst>
            <pc:docMk/>
            <pc:sldMk cId="1068833788" sldId="4093"/>
            <ac:picMk id="42" creationId="{81837E24-489E-A043-4C9C-038380273729}"/>
          </ac:picMkLst>
        </pc:picChg>
        <pc:cxnChg chg="mod">
          <ac:chgData name="Rizky Fajar" userId="490a5c0ae4650a6d" providerId="LiveId" clId="{5666174E-1FDC-4381-AE72-96AAAE51F635}" dt="2025-02-19T13:16:23.399" v="31745" actId="1076"/>
          <ac:cxnSpMkLst>
            <pc:docMk/>
            <pc:sldMk cId="1068833788" sldId="4093"/>
            <ac:cxnSpMk id="18" creationId="{888E6AD4-FE5D-DA08-9DE5-DA4A58B561FA}"/>
          </ac:cxnSpMkLst>
        </pc:cxnChg>
        <pc:cxnChg chg="del">
          <ac:chgData name="Rizky Fajar" userId="490a5c0ae4650a6d" providerId="LiveId" clId="{5666174E-1FDC-4381-AE72-96AAAE51F635}" dt="2025-02-19T13:12:39.829" v="31336" actId="478"/>
          <ac:cxnSpMkLst>
            <pc:docMk/>
            <pc:sldMk cId="1068833788" sldId="4093"/>
            <ac:cxnSpMk id="44" creationId="{5EF217B1-1DB8-018F-C0F5-98AF5DD03F86}"/>
          </ac:cxnSpMkLst>
        </pc:cxnChg>
        <pc:cxnChg chg="del">
          <ac:chgData name="Rizky Fajar" userId="490a5c0ae4650a6d" providerId="LiveId" clId="{5666174E-1FDC-4381-AE72-96AAAE51F635}" dt="2025-02-19T13:12:27.859" v="31335" actId="478"/>
          <ac:cxnSpMkLst>
            <pc:docMk/>
            <pc:sldMk cId="1068833788" sldId="4093"/>
            <ac:cxnSpMk id="46" creationId="{233A6F23-44D5-1618-74E9-D6A905C3F48F}"/>
          </ac:cxnSpMkLst>
        </pc:cxnChg>
      </pc:sldChg>
      <pc:sldChg chg="add del">
        <pc:chgData name="Rizky Fajar" userId="490a5c0ae4650a6d" providerId="LiveId" clId="{5666174E-1FDC-4381-AE72-96AAAE51F635}" dt="2025-02-19T13:11:56.406" v="31332" actId="47"/>
        <pc:sldMkLst>
          <pc:docMk/>
          <pc:sldMk cId="2891445408" sldId="4093"/>
        </pc:sldMkLst>
      </pc:sldChg>
      <pc:sldChg chg="add del">
        <pc:chgData name="Rizky Fajar" userId="490a5c0ae4650a6d" providerId="LiveId" clId="{5666174E-1FDC-4381-AE72-96AAAE51F635}" dt="2025-02-19T13:11:58.350" v="31333" actId="47"/>
        <pc:sldMkLst>
          <pc:docMk/>
          <pc:sldMk cId="1354507600" sldId="4094"/>
        </pc:sldMkLst>
      </pc:sldChg>
      <pc:sldChg chg="modSp add mod">
        <pc:chgData name="Rizky Fajar" userId="490a5c0ae4650a6d" providerId="LiveId" clId="{5666174E-1FDC-4381-AE72-96AAAE51F635}" dt="2025-02-19T13:21:35.164" v="32028" actId="20577"/>
        <pc:sldMkLst>
          <pc:docMk/>
          <pc:sldMk cId="3383049272" sldId="4094"/>
        </pc:sldMkLst>
        <pc:spChg chg="mod">
          <ac:chgData name="Rizky Fajar" userId="490a5c0ae4650a6d" providerId="LiveId" clId="{5666174E-1FDC-4381-AE72-96AAAE51F635}" dt="2025-02-19T13:21:35.164" v="32028" actId="20577"/>
          <ac:spMkLst>
            <pc:docMk/>
            <pc:sldMk cId="3383049272" sldId="4094"/>
            <ac:spMk id="5" creationId="{B076A201-88F6-8BB1-9040-7B51B2075C58}"/>
          </ac:spMkLst>
        </pc:spChg>
      </pc:sldChg>
    </pc:docChg>
  </pc:docChgLst>
  <pc:docChgLst>
    <pc:chgData name="Rizky Fajar" userId="490a5c0ae4650a6d" providerId="LiveId" clId="{D1CE0F0A-6BCF-46E5-A682-E2750EE6D310}"/>
    <pc:docChg chg="undo custSel addSld delSld modSld sldOrd modSection">
      <pc:chgData name="Rizky Fajar" userId="490a5c0ae4650a6d" providerId="LiveId" clId="{D1CE0F0A-6BCF-46E5-A682-E2750EE6D310}" dt="2024-09-29T17:11:56.873" v="3870" actId="1036"/>
      <pc:docMkLst>
        <pc:docMk/>
      </pc:docMkLst>
      <pc:sldChg chg="addSp delSp modSp add mod ord">
        <pc:chgData name="Rizky Fajar" userId="490a5c0ae4650a6d" providerId="LiveId" clId="{D1CE0F0A-6BCF-46E5-A682-E2750EE6D310}" dt="2024-09-29T17:07:56.611" v="3818" actId="20577"/>
        <pc:sldMkLst>
          <pc:docMk/>
          <pc:sldMk cId="2158894548" sldId="3856"/>
        </pc:sldMkLst>
      </pc:sldChg>
      <pc:sldChg chg="del">
        <pc:chgData name="Rizky Fajar" userId="490a5c0ae4650a6d" providerId="LiveId" clId="{D1CE0F0A-6BCF-46E5-A682-E2750EE6D310}" dt="2024-09-29T15:38:59.321" v="207" actId="47"/>
        <pc:sldMkLst>
          <pc:docMk/>
          <pc:sldMk cId="3853438254" sldId="4027"/>
        </pc:sldMkLst>
      </pc:sldChg>
      <pc:sldChg chg="del">
        <pc:chgData name="Rizky Fajar" userId="490a5c0ae4650a6d" providerId="LiveId" clId="{D1CE0F0A-6BCF-46E5-A682-E2750EE6D310}" dt="2024-09-29T15:39:14.727" v="208" actId="47"/>
        <pc:sldMkLst>
          <pc:docMk/>
          <pc:sldMk cId="804872904" sldId="4028"/>
        </pc:sldMkLst>
      </pc:sldChg>
      <pc:sldChg chg="delSp modSp add del mod">
        <pc:chgData name="Rizky Fajar" userId="490a5c0ae4650a6d" providerId="LiveId" clId="{D1CE0F0A-6BCF-46E5-A682-E2750EE6D310}" dt="2024-09-29T17:06:16.626" v="3723" actId="47"/>
        <pc:sldMkLst>
          <pc:docMk/>
          <pc:sldMk cId="3033883038" sldId="4029"/>
        </pc:sldMkLst>
      </pc:sldChg>
      <pc:sldChg chg="del">
        <pc:chgData name="Rizky Fajar" userId="490a5c0ae4650a6d" providerId="LiveId" clId="{D1CE0F0A-6BCF-46E5-A682-E2750EE6D310}" dt="2024-09-29T17:06:16.626" v="3723" actId="47"/>
        <pc:sldMkLst>
          <pc:docMk/>
          <pc:sldMk cId="802796825" sldId="4030"/>
        </pc:sldMkLst>
      </pc:sldChg>
      <pc:sldChg chg="del">
        <pc:chgData name="Rizky Fajar" userId="490a5c0ae4650a6d" providerId="LiveId" clId="{D1CE0F0A-6BCF-46E5-A682-E2750EE6D310}" dt="2024-09-29T17:06:16.626" v="3723" actId="47"/>
        <pc:sldMkLst>
          <pc:docMk/>
          <pc:sldMk cId="2153555081" sldId="4031"/>
        </pc:sldMkLst>
      </pc:sldChg>
      <pc:sldChg chg="del">
        <pc:chgData name="Rizky Fajar" userId="490a5c0ae4650a6d" providerId="LiveId" clId="{D1CE0F0A-6BCF-46E5-A682-E2750EE6D310}" dt="2024-09-29T15:39:14.758" v="209" actId="47"/>
        <pc:sldMkLst>
          <pc:docMk/>
          <pc:sldMk cId="368178181" sldId="4032"/>
        </pc:sldMkLst>
      </pc:sldChg>
      <pc:sldChg chg="addSp delSp modSp add mod ord">
        <pc:chgData name="Rizky Fajar" userId="490a5c0ae4650a6d" providerId="LiveId" clId="{D1CE0F0A-6BCF-46E5-A682-E2750EE6D310}" dt="2024-09-29T17:11:56.873" v="3870" actId="1036"/>
        <pc:sldMkLst>
          <pc:docMk/>
          <pc:sldMk cId="3425220804" sldId="4032"/>
        </pc:sldMkLst>
      </pc:sldChg>
      <pc:sldChg chg="modSp add mod">
        <pc:chgData name="Rizky Fajar" userId="490a5c0ae4650a6d" providerId="LiveId" clId="{D1CE0F0A-6BCF-46E5-A682-E2750EE6D310}" dt="2024-09-29T17:08:12.882" v="3838" actId="20577"/>
        <pc:sldMkLst>
          <pc:docMk/>
          <pc:sldMk cId="1555091660" sldId="4033"/>
        </pc:sldMkLst>
      </pc:sldChg>
      <pc:sldChg chg="modSp add mod">
        <pc:chgData name="Rizky Fajar" userId="490a5c0ae4650a6d" providerId="LiveId" clId="{D1CE0F0A-6BCF-46E5-A682-E2750EE6D310}" dt="2024-09-29T17:08:25.687" v="3848" actId="20577"/>
        <pc:sldMkLst>
          <pc:docMk/>
          <pc:sldMk cId="3868189438" sldId="4034"/>
        </pc:sldMkLst>
      </pc:sldChg>
    </pc:docChg>
  </pc:docChgLst>
  <pc:docChgLst>
    <pc:chgData name="Rizky Fajar" userId="490a5c0ae4650a6d" providerId="LiveId" clId="{BE2C7505-A2EB-4EF1-B889-834D576FC10C}"/>
    <pc:docChg chg="undo redo custSel addSld delSld modSld delSection modSection">
      <pc:chgData name="Rizky Fajar" userId="490a5c0ae4650a6d" providerId="LiveId" clId="{BE2C7505-A2EB-4EF1-B889-834D576FC10C}" dt="2024-12-31T08:26:14.785" v="10678" actId="20577"/>
      <pc:docMkLst>
        <pc:docMk/>
      </pc:docMkLst>
      <pc:sldChg chg="modSp mod">
        <pc:chgData name="Rizky Fajar" userId="490a5c0ae4650a6d" providerId="LiveId" clId="{BE2C7505-A2EB-4EF1-B889-834D576FC10C}" dt="2024-12-23T03:58:57.088" v="10610" actId="20577"/>
        <pc:sldMkLst>
          <pc:docMk/>
          <pc:sldMk cId="2158894548" sldId="3856"/>
        </pc:sldMkLst>
      </pc:sldChg>
      <pc:sldChg chg="del">
        <pc:chgData name="Rizky Fajar" userId="490a5c0ae4650a6d" providerId="LiveId" clId="{BE2C7505-A2EB-4EF1-B889-834D576FC10C}" dt="2024-12-22T18:58:13.941" v="8743" actId="2696"/>
        <pc:sldMkLst>
          <pc:docMk/>
          <pc:sldMk cId="1651964774" sldId="3869"/>
        </pc:sldMkLst>
      </pc:sldChg>
      <pc:sldChg chg="add del">
        <pc:chgData name="Rizky Fajar" userId="490a5c0ae4650a6d" providerId="LiveId" clId="{BE2C7505-A2EB-4EF1-B889-834D576FC10C}" dt="2024-12-22T19:02:23.091" v="8863" actId="47"/>
        <pc:sldMkLst>
          <pc:docMk/>
          <pc:sldMk cId="2686553386" sldId="3869"/>
        </pc:sldMkLst>
      </pc:sldChg>
      <pc:sldChg chg="modSp add mod">
        <pc:chgData name="Rizky Fajar" userId="490a5c0ae4650a6d" providerId="LiveId" clId="{BE2C7505-A2EB-4EF1-B889-834D576FC10C}" dt="2024-12-22T19:02:02.973" v="8862" actId="113"/>
        <pc:sldMkLst>
          <pc:docMk/>
          <pc:sldMk cId="2661136957" sldId="4034"/>
        </pc:sldMkLst>
      </pc:sldChg>
      <pc:sldChg chg="del">
        <pc:chgData name="Rizky Fajar" userId="490a5c0ae4650a6d" providerId="LiveId" clId="{BE2C7505-A2EB-4EF1-B889-834D576FC10C}" dt="2024-12-22T18:59:15.180" v="8762" actId="2696"/>
        <pc:sldMkLst>
          <pc:docMk/>
          <pc:sldMk cId="3868189438" sldId="4034"/>
        </pc:sldMkLst>
      </pc:sldChg>
      <pc:sldChg chg="del mod modShow">
        <pc:chgData name="Rizky Fajar" userId="490a5c0ae4650a6d" providerId="LiveId" clId="{BE2C7505-A2EB-4EF1-B889-834D576FC10C}" dt="2024-12-22T19:02:23.091" v="8863" actId="47"/>
        <pc:sldMkLst>
          <pc:docMk/>
          <pc:sldMk cId="2391068577" sldId="4035"/>
        </pc:sldMkLst>
      </pc:sldChg>
      <pc:sldChg chg="del mod modShow">
        <pc:chgData name="Rizky Fajar" userId="490a5c0ae4650a6d" providerId="LiveId" clId="{BE2C7505-A2EB-4EF1-B889-834D576FC10C}" dt="2024-12-22T19:02:23.091" v="8863" actId="47"/>
        <pc:sldMkLst>
          <pc:docMk/>
          <pc:sldMk cId="3655741543" sldId="4036"/>
        </pc:sldMkLst>
      </pc:sldChg>
      <pc:sldChg chg="del mod modShow">
        <pc:chgData name="Rizky Fajar" userId="490a5c0ae4650a6d" providerId="LiveId" clId="{BE2C7505-A2EB-4EF1-B889-834D576FC10C}" dt="2024-12-22T19:02:23.091" v="8863" actId="47"/>
        <pc:sldMkLst>
          <pc:docMk/>
          <pc:sldMk cId="3783977622" sldId="4037"/>
        </pc:sldMkLst>
      </pc:sldChg>
      <pc:sldChg chg="del mod modShow">
        <pc:chgData name="Rizky Fajar" userId="490a5c0ae4650a6d" providerId="LiveId" clId="{BE2C7505-A2EB-4EF1-B889-834D576FC10C}" dt="2024-12-22T19:02:23.091" v="8863" actId="47"/>
        <pc:sldMkLst>
          <pc:docMk/>
          <pc:sldMk cId="962050034" sldId="4038"/>
        </pc:sldMkLst>
      </pc:sldChg>
      <pc:sldChg chg="add del mod modShow">
        <pc:chgData name="Rizky Fajar" userId="490a5c0ae4650a6d" providerId="LiveId" clId="{BE2C7505-A2EB-4EF1-B889-834D576FC10C}" dt="2024-12-22T19:02:23.091" v="8863" actId="47"/>
        <pc:sldMkLst>
          <pc:docMk/>
          <pc:sldMk cId="367019018" sldId="4039"/>
        </pc:sldMkLst>
      </pc:sldChg>
      <pc:sldChg chg="del">
        <pc:chgData name="Rizky Fajar" userId="490a5c0ae4650a6d" providerId="LiveId" clId="{BE2C7505-A2EB-4EF1-B889-834D576FC10C}" dt="2024-12-22T18:58:13.941" v="8743" actId="2696"/>
        <pc:sldMkLst>
          <pc:docMk/>
          <pc:sldMk cId="3680591408" sldId="4039"/>
        </pc:sldMkLst>
      </pc:sldChg>
      <pc:sldChg chg="add del mod modShow">
        <pc:chgData name="Rizky Fajar" userId="490a5c0ae4650a6d" providerId="LiveId" clId="{BE2C7505-A2EB-4EF1-B889-834D576FC10C}" dt="2024-12-22T19:02:23.091" v="8863" actId="47"/>
        <pc:sldMkLst>
          <pc:docMk/>
          <pc:sldMk cId="1920246645" sldId="4040"/>
        </pc:sldMkLst>
      </pc:sldChg>
      <pc:sldChg chg="del">
        <pc:chgData name="Rizky Fajar" userId="490a5c0ae4650a6d" providerId="LiveId" clId="{BE2C7505-A2EB-4EF1-B889-834D576FC10C}" dt="2024-12-22T18:58:13.941" v="8743" actId="2696"/>
        <pc:sldMkLst>
          <pc:docMk/>
          <pc:sldMk cId="4130923470" sldId="4040"/>
        </pc:sldMkLst>
      </pc:sldChg>
      <pc:sldChg chg="del">
        <pc:chgData name="Rizky Fajar" userId="490a5c0ae4650a6d" providerId="LiveId" clId="{BE2C7505-A2EB-4EF1-B889-834D576FC10C}" dt="2024-12-22T19:03:54.430" v="8866" actId="47"/>
        <pc:sldMkLst>
          <pc:docMk/>
          <pc:sldMk cId="3423551259" sldId="4041"/>
        </pc:sldMkLst>
      </pc:sldChg>
      <pc:sldChg chg="delSp modSp mod">
        <pc:chgData name="Rizky Fajar" userId="490a5c0ae4650a6d" providerId="LiveId" clId="{BE2C7505-A2EB-4EF1-B889-834D576FC10C}" dt="2024-12-22T19:12:29.986" v="8974"/>
        <pc:sldMkLst>
          <pc:docMk/>
          <pc:sldMk cId="478176969" sldId="4043"/>
        </pc:sldMkLst>
      </pc:sldChg>
      <pc:sldChg chg="modSp mod">
        <pc:chgData name="Rizky Fajar" userId="490a5c0ae4650a6d" providerId="LiveId" clId="{BE2C7505-A2EB-4EF1-B889-834D576FC10C}" dt="2024-12-22T17:06:10.946" v="5193" actId="1035"/>
        <pc:sldMkLst>
          <pc:docMk/>
          <pc:sldMk cId="2137040807" sldId="4044"/>
        </pc:sldMkLst>
      </pc:sldChg>
      <pc:sldChg chg="addSp delSp modSp mod">
        <pc:chgData name="Rizky Fajar" userId="490a5c0ae4650a6d" providerId="LiveId" clId="{BE2C7505-A2EB-4EF1-B889-834D576FC10C}" dt="2024-12-22T19:04:15.728" v="8899" actId="20577"/>
        <pc:sldMkLst>
          <pc:docMk/>
          <pc:sldMk cId="2731431347" sldId="4045"/>
        </pc:sldMkLst>
      </pc:sldChg>
      <pc:sldChg chg="addSp delSp modSp add mod">
        <pc:chgData name="Rizky Fajar" userId="490a5c0ae4650a6d" providerId="LiveId" clId="{BE2C7505-A2EB-4EF1-B889-834D576FC10C}" dt="2024-12-22T19:04:23.337" v="8901"/>
        <pc:sldMkLst>
          <pc:docMk/>
          <pc:sldMk cId="1379156853" sldId="4046"/>
        </pc:sldMkLst>
      </pc:sldChg>
      <pc:sldChg chg="addSp delSp modSp add del mod modShow">
        <pc:chgData name="Rizky Fajar" userId="490a5c0ae4650a6d" providerId="LiveId" clId="{BE2C7505-A2EB-4EF1-B889-834D576FC10C}" dt="2024-12-22T18:58:13.941" v="8743" actId="2696"/>
        <pc:sldMkLst>
          <pc:docMk/>
          <pc:sldMk cId="614413591" sldId="4047"/>
        </pc:sldMkLst>
      </pc:sldChg>
      <pc:sldChg chg="add del">
        <pc:chgData name="Rizky Fajar" userId="490a5c0ae4650a6d" providerId="LiveId" clId="{BE2C7505-A2EB-4EF1-B889-834D576FC10C}" dt="2024-12-22T19:02:23.091" v="8863" actId="47"/>
        <pc:sldMkLst>
          <pc:docMk/>
          <pc:sldMk cId="3452391061" sldId="4047"/>
        </pc:sldMkLst>
      </pc:sldChg>
      <pc:sldChg chg="add del">
        <pc:chgData name="Rizky Fajar" userId="490a5c0ae4650a6d" providerId="LiveId" clId="{BE2C7505-A2EB-4EF1-B889-834D576FC10C}" dt="2024-12-22T15:51:05.769" v="2267" actId="2890"/>
        <pc:sldMkLst>
          <pc:docMk/>
          <pc:sldMk cId="309615544" sldId="4048"/>
        </pc:sldMkLst>
      </pc:sldChg>
      <pc:sldChg chg="addSp delSp modSp add mod">
        <pc:chgData name="Rizky Fajar" userId="490a5c0ae4650a6d" providerId="LiveId" clId="{BE2C7505-A2EB-4EF1-B889-834D576FC10C}" dt="2024-12-23T03:22:21.135" v="10253" actId="165"/>
        <pc:sldMkLst>
          <pc:docMk/>
          <pc:sldMk cId="2197136769" sldId="4048"/>
        </pc:sldMkLst>
      </pc:sldChg>
      <pc:sldChg chg="addSp delSp modSp add mod">
        <pc:chgData name="Rizky Fajar" userId="490a5c0ae4650a6d" providerId="LiveId" clId="{BE2C7505-A2EB-4EF1-B889-834D576FC10C}" dt="2024-12-23T07:00:24.379" v="10674" actId="20577"/>
        <pc:sldMkLst>
          <pc:docMk/>
          <pc:sldMk cId="1701110668" sldId="4049"/>
        </pc:sldMkLst>
      </pc:sldChg>
      <pc:sldChg chg="addSp delSp modSp add mod">
        <pc:chgData name="Rizky Fajar" userId="490a5c0ae4650a6d" providerId="LiveId" clId="{BE2C7505-A2EB-4EF1-B889-834D576FC10C}" dt="2024-12-22T19:04:33.081" v="8907"/>
        <pc:sldMkLst>
          <pc:docMk/>
          <pc:sldMk cId="1086085138" sldId="4050"/>
        </pc:sldMkLst>
      </pc:sldChg>
      <pc:sldChg chg="addSp delSp modSp add mod">
        <pc:chgData name="Rizky Fajar" userId="490a5c0ae4650a6d" providerId="LiveId" clId="{BE2C7505-A2EB-4EF1-B889-834D576FC10C}" dt="2024-12-23T02:28:37.935" v="9005"/>
        <pc:sldMkLst>
          <pc:docMk/>
          <pc:sldMk cId="693959529" sldId="4051"/>
        </pc:sldMkLst>
      </pc:sldChg>
      <pc:sldChg chg="addSp delSp modSp add mod">
        <pc:chgData name="Rizky Fajar" userId="490a5c0ae4650a6d" providerId="LiveId" clId="{BE2C7505-A2EB-4EF1-B889-834D576FC10C}" dt="2024-12-22T19:10:09.200" v="8970"/>
        <pc:sldMkLst>
          <pc:docMk/>
          <pc:sldMk cId="1072103729" sldId="4052"/>
        </pc:sldMkLst>
      </pc:sldChg>
      <pc:sldChg chg="add del">
        <pc:chgData name="Rizky Fajar" userId="490a5c0ae4650a6d" providerId="LiveId" clId="{BE2C7505-A2EB-4EF1-B889-834D576FC10C}" dt="2024-12-22T18:31:37.870" v="7061"/>
        <pc:sldMkLst>
          <pc:docMk/>
          <pc:sldMk cId="2244915802" sldId="4052"/>
        </pc:sldMkLst>
      </pc:sldChg>
      <pc:sldChg chg="delSp modSp add del mod">
        <pc:chgData name="Rizky Fajar" userId="490a5c0ae4650a6d" providerId="LiveId" clId="{BE2C7505-A2EB-4EF1-B889-834D576FC10C}" dt="2024-12-23T02:29:30.399" v="9006" actId="47"/>
        <pc:sldMkLst>
          <pc:docMk/>
          <pc:sldMk cId="2318650397" sldId="4053"/>
        </pc:sldMkLst>
      </pc:sldChg>
      <pc:sldChg chg="addSp delSp modSp add mod modShow">
        <pc:chgData name="Rizky Fajar" userId="490a5c0ae4650a6d" providerId="LiveId" clId="{BE2C7505-A2EB-4EF1-B889-834D576FC10C}" dt="2024-12-31T08:26:14.785" v="10678" actId="20577"/>
        <pc:sldMkLst>
          <pc:docMk/>
          <pc:sldMk cId="4285811609" sldId="4053"/>
        </pc:sldMkLst>
      </pc:sldChg>
    </pc:docChg>
  </pc:docChgLst>
  <pc:docChgLst>
    <pc:chgData name="Syarifa Diandrina" userId="79f2e37a-5960-4f0b-aa36-f31bbddee235" providerId="ADAL" clId="{8B9D4BE5-5011-4421-BD4A-4A8E76492E3C}"/>
    <pc:docChg chg="modSld">
      <pc:chgData name="Syarifa Diandrina" userId="79f2e37a-5960-4f0b-aa36-f31bbddee235" providerId="ADAL" clId="{8B9D4BE5-5011-4421-BD4A-4A8E76492E3C}" dt="2024-08-06T01:44:14.474" v="1" actId="27918"/>
      <pc:docMkLst>
        <pc:docMk/>
      </pc:docMkLst>
      <pc:sldChg chg="mod">
        <pc:chgData name="Syarifa Diandrina" userId="79f2e37a-5960-4f0b-aa36-f31bbddee235" providerId="ADAL" clId="{8B9D4BE5-5011-4421-BD4A-4A8E76492E3C}" dt="2024-08-06T01:44:14.474" v="1" actId="27918"/>
        <pc:sldMkLst>
          <pc:docMk/>
          <pc:sldMk cId="2700089645" sldId="4024"/>
        </pc:sldMkLst>
      </pc:sldChg>
    </pc:docChg>
  </pc:docChgLst>
  <pc:docChgLst>
    <pc:chgData name="Rizky Aditya" userId="52991656-54c1-45f8-96fe-8249ee811bf3" providerId="ADAL" clId="{5A8F9C53-FE13-4895-AC79-C6A33C91B8C1}"/>
    <pc:docChg chg="undo custSel addSld delSld modSld sldOrd addSection modSection">
      <pc:chgData name="Rizky Aditya" userId="52991656-54c1-45f8-96fe-8249ee811bf3" providerId="ADAL" clId="{5A8F9C53-FE13-4895-AC79-C6A33C91B8C1}" dt="2024-06-13T02:36:27.601" v="8915" actId="1037"/>
      <pc:docMkLst>
        <pc:docMk/>
      </pc:docMkLst>
      <pc:sldChg chg="addSp delSp modSp add del mod">
        <pc:chgData name="Rizky Aditya" userId="52991656-54c1-45f8-96fe-8249ee811bf3" providerId="ADAL" clId="{5A8F9C53-FE13-4895-AC79-C6A33C91B8C1}" dt="2024-06-11T09:53:17.973" v="3651" actId="47"/>
        <pc:sldMkLst>
          <pc:docMk/>
          <pc:sldMk cId="2734515042" sldId="259"/>
        </pc:sldMkLst>
      </pc:sldChg>
      <pc:sldChg chg="del">
        <pc:chgData name="Rizky Aditya" userId="52991656-54c1-45f8-96fe-8249ee811bf3" providerId="ADAL" clId="{5A8F9C53-FE13-4895-AC79-C6A33C91B8C1}" dt="2024-06-11T06:31:41.536" v="0" actId="47"/>
        <pc:sldMkLst>
          <pc:docMk/>
          <pc:sldMk cId="3867097331" sldId="297"/>
        </pc:sldMkLst>
      </pc:sldChg>
      <pc:sldChg chg="del">
        <pc:chgData name="Rizky Aditya" userId="52991656-54c1-45f8-96fe-8249ee811bf3" providerId="ADAL" clId="{5A8F9C53-FE13-4895-AC79-C6A33C91B8C1}" dt="2024-06-11T06:32:01.315" v="1" actId="47"/>
        <pc:sldMkLst>
          <pc:docMk/>
          <pc:sldMk cId="1880710679" sldId="353"/>
        </pc:sldMkLst>
      </pc:sldChg>
      <pc:sldChg chg="del">
        <pc:chgData name="Rizky Aditya" userId="52991656-54c1-45f8-96fe-8249ee811bf3" providerId="ADAL" clId="{5A8F9C53-FE13-4895-AC79-C6A33C91B8C1}" dt="2024-06-11T06:32:01.315" v="1" actId="47"/>
        <pc:sldMkLst>
          <pc:docMk/>
          <pc:sldMk cId="4293369153" sldId="356"/>
        </pc:sldMkLst>
      </pc:sldChg>
      <pc:sldChg chg="del">
        <pc:chgData name="Rizky Aditya" userId="52991656-54c1-45f8-96fe-8249ee811bf3" providerId="ADAL" clId="{5A8F9C53-FE13-4895-AC79-C6A33C91B8C1}" dt="2024-06-11T06:31:41.536" v="0" actId="47"/>
        <pc:sldMkLst>
          <pc:docMk/>
          <pc:sldMk cId="1181954916" sldId="359"/>
        </pc:sldMkLst>
      </pc:sldChg>
      <pc:sldChg chg="addSp delSp modSp mod ord modShow">
        <pc:chgData name="Rizky Aditya" userId="52991656-54c1-45f8-96fe-8249ee811bf3" providerId="ADAL" clId="{5A8F9C53-FE13-4895-AC79-C6A33C91B8C1}" dt="2024-06-11T09:38:30.216" v="3161" actId="729"/>
        <pc:sldMkLst>
          <pc:docMk/>
          <pc:sldMk cId="2907044538" sldId="362"/>
        </pc:sldMkLst>
      </pc:sldChg>
      <pc:sldChg chg="del">
        <pc:chgData name="Rizky Aditya" userId="52991656-54c1-45f8-96fe-8249ee811bf3" providerId="ADAL" clId="{5A8F9C53-FE13-4895-AC79-C6A33C91B8C1}" dt="2024-06-11T06:32:01.315" v="1" actId="47"/>
        <pc:sldMkLst>
          <pc:docMk/>
          <pc:sldMk cId="1798411883" sldId="366"/>
        </pc:sldMkLst>
      </pc:sldChg>
      <pc:sldChg chg="del">
        <pc:chgData name="Rizky Aditya" userId="52991656-54c1-45f8-96fe-8249ee811bf3" providerId="ADAL" clId="{5A8F9C53-FE13-4895-AC79-C6A33C91B8C1}" dt="2024-06-11T06:31:41.536" v="0" actId="47"/>
        <pc:sldMkLst>
          <pc:docMk/>
          <pc:sldMk cId="2172375046" sldId="378"/>
        </pc:sldMkLst>
      </pc:sldChg>
      <pc:sldChg chg="del">
        <pc:chgData name="Rizky Aditya" userId="52991656-54c1-45f8-96fe-8249ee811bf3" providerId="ADAL" clId="{5A8F9C53-FE13-4895-AC79-C6A33C91B8C1}" dt="2024-06-11T06:32:01.315" v="1" actId="47"/>
        <pc:sldMkLst>
          <pc:docMk/>
          <pc:sldMk cId="3968000504" sldId="379"/>
        </pc:sldMkLst>
      </pc:sldChg>
      <pc:sldChg chg="del">
        <pc:chgData name="Rizky Aditya" userId="52991656-54c1-45f8-96fe-8249ee811bf3" providerId="ADAL" clId="{5A8F9C53-FE13-4895-AC79-C6A33C91B8C1}" dt="2024-06-11T06:31:41.536" v="0" actId="47"/>
        <pc:sldMkLst>
          <pc:docMk/>
          <pc:sldMk cId="847913583" sldId="382"/>
        </pc:sldMkLst>
      </pc:sldChg>
      <pc:sldChg chg="del">
        <pc:chgData name="Rizky Aditya" userId="52991656-54c1-45f8-96fe-8249ee811bf3" providerId="ADAL" clId="{5A8F9C53-FE13-4895-AC79-C6A33C91B8C1}" dt="2024-06-11T06:32:01.315" v="1" actId="47"/>
        <pc:sldMkLst>
          <pc:docMk/>
          <pc:sldMk cId="1922518372" sldId="428"/>
        </pc:sldMkLst>
      </pc:sldChg>
      <pc:sldChg chg="addSp delSp modSp add del mod">
        <pc:chgData name="Rizky Aditya" userId="52991656-54c1-45f8-96fe-8249ee811bf3" providerId="ADAL" clId="{5A8F9C53-FE13-4895-AC79-C6A33C91B8C1}" dt="2024-06-11T08:22:48.425" v="957" actId="47"/>
        <pc:sldMkLst>
          <pc:docMk/>
          <pc:sldMk cId="1791972678" sldId="429"/>
        </pc:sldMkLst>
      </pc:sldChg>
      <pc:sldChg chg="addSp delSp modSp add mod ord setBg modShow">
        <pc:chgData name="Rizky Aditya" userId="52991656-54c1-45f8-96fe-8249ee811bf3" providerId="ADAL" clId="{5A8F9C53-FE13-4895-AC79-C6A33C91B8C1}" dt="2024-06-11T09:38:30.216" v="3161" actId="729"/>
        <pc:sldMkLst>
          <pc:docMk/>
          <pc:sldMk cId="2568355935" sldId="430"/>
        </pc:sldMkLst>
      </pc:sldChg>
      <pc:sldChg chg="addSp delSp modSp add mod">
        <pc:chgData name="Rizky Aditya" userId="52991656-54c1-45f8-96fe-8249ee811bf3" providerId="ADAL" clId="{5A8F9C53-FE13-4895-AC79-C6A33C91B8C1}" dt="2024-06-12T16:15:58.955" v="8088"/>
        <pc:sldMkLst>
          <pc:docMk/>
          <pc:sldMk cId="1689366057" sldId="431"/>
        </pc:sldMkLst>
      </pc:sldChg>
      <pc:sldChg chg="addSp delSp modSp add del mod">
        <pc:chgData name="Rizky Aditya" userId="52991656-54c1-45f8-96fe-8249ee811bf3" providerId="ADAL" clId="{5A8F9C53-FE13-4895-AC79-C6A33C91B8C1}" dt="2024-06-11T09:14:21.281" v="2131" actId="47"/>
        <pc:sldMkLst>
          <pc:docMk/>
          <pc:sldMk cId="1352864814" sldId="432"/>
        </pc:sldMkLst>
      </pc:sldChg>
      <pc:sldChg chg="addSp delSp modSp add mod ord">
        <pc:chgData name="Rizky Aditya" userId="52991656-54c1-45f8-96fe-8249ee811bf3" providerId="ADAL" clId="{5A8F9C53-FE13-4895-AC79-C6A33C91B8C1}" dt="2024-06-12T10:04:13.668" v="6862" actId="14100"/>
        <pc:sldMkLst>
          <pc:docMk/>
          <pc:sldMk cId="1255580606" sldId="433"/>
        </pc:sldMkLst>
      </pc:sldChg>
      <pc:sldChg chg="add del">
        <pc:chgData name="Rizky Aditya" userId="52991656-54c1-45f8-96fe-8249ee811bf3" providerId="ADAL" clId="{5A8F9C53-FE13-4895-AC79-C6A33C91B8C1}" dt="2024-06-11T09:13:33.950" v="2119" actId="47"/>
        <pc:sldMkLst>
          <pc:docMk/>
          <pc:sldMk cId="1607608671" sldId="433"/>
        </pc:sldMkLst>
      </pc:sldChg>
      <pc:sldChg chg="add mod ord modShow">
        <pc:chgData name="Rizky Aditya" userId="52991656-54c1-45f8-96fe-8249ee811bf3" providerId="ADAL" clId="{5A8F9C53-FE13-4895-AC79-C6A33C91B8C1}" dt="2024-06-12T11:21:51.506" v="7036" actId="729"/>
        <pc:sldMkLst>
          <pc:docMk/>
          <pc:sldMk cId="3878810061" sldId="434"/>
        </pc:sldMkLst>
      </pc:sldChg>
      <pc:sldChg chg="add del">
        <pc:chgData name="Rizky Aditya" userId="52991656-54c1-45f8-96fe-8249ee811bf3" providerId="ADAL" clId="{5A8F9C53-FE13-4895-AC79-C6A33C91B8C1}" dt="2024-06-12T14:58:07.538" v="7387"/>
        <pc:sldMkLst>
          <pc:docMk/>
          <pc:sldMk cId="4034380958" sldId="435"/>
        </pc:sldMkLst>
      </pc:sldChg>
      <pc:sldChg chg="addSp delSp modSp add mod ord">
        <pc:chgData name="Rizky Aditya" userId="52991656-54c1-45f8-96fe-8249ee811bf3" providerId="ADAL" clId="{5A8F9C53-FE13-4895-AC79-C6A33C91B8C1}" dt="2024-06-13T02:36:27.601" v="8915" actId="1037"/>
        <pc:sldMkLst>
          <pc:docMk/>
          <pc:sldMk cId="3300756953" sldId="4023"/>
        </pc:sldMkLst>
      </pc:sldChg>
      <pc:sldMasterChg chg="delSldLayout">
        <pc:chgData name="Rizky Aditya" userId="52991656-54c1-45f8-96fe-8249ee811bf3" providerId="ADAL" clId="{5A8F9C53-FE13-4895-AC79-C6A33C91B8C1}" dt="2024-06-11T06:32:01.315" v="1" actId="47"/>
        <pc:sldMasterMkLst>
          <pc:docMk/>
          <pc:sldMasterMk cId="1266181111" sldId="2147483841"/>
        </pc:sldMasterMkLst>
        <pc:sldLayoutChg chg="del">
          <pc:chgData name="Rizky Aditya" userId="52991656-54c1-45f8-96fe-8249ee811bf3" providerId="ADAL" clId="{5A8F9C53-FE13-4895-AC79-C6A33C91B8C1}" dt="2024-06-11T06:32:01.315" v="1" actId="47"/>
          <pc:sldLayoutMkLst>
            <pc:docMk/>
            <pc:sldMasterMk cId="1266181111" sldId="2147483841"/>
            <pc:sldLayoutMk cId="3265708224" sldId="2147483860"/>
          </pc:sldLayoutMkLst>
        </pc:sldLayoutChg>
      </pc:sldMasterChg>
    </pc:docChg>
  </pc:docChgLst>
  <pc:docChgLst>
    <pc:chgData name="Rizky Fajar" userId="490a5c0ae4650a6d" providerId="LiveId" clId="{08BFC966-FBF6-4E8D-B489-7CB656E222B6}"/>
    <pc:docChg chg="modSld">
      <pc:chgData name="Rizky Fajar" userId="490a5c0ae4650a6d" providerId="LiveId" clId="{08BFC966-FBF6-4E8D-B489-7CB656E222B6}" dt="2024-11-19T13:55:16.007" v="34" actId="20577"/>
      <pc:docMkLst>
        <pc:docMk/>
      </pc:docMkLst>
      <pc:sldChg chg="modSp mod">
        <pc:chgData name="Rizky Fajar" userId="490a5c0ae4650a6d" providerId="LiveId" clId="{08BFC966-FBF6-4E8D-B489-7CB656E222B6}" dt="2024-11-19T13:55:16.007" v="34" actId="20577"/>
        <pc:sldMkLst>
          <pc:docMk/>
          <pc:sldMk cId="2158894548" sldId="3856"/>
        </pc:sldMkLst>
      </pc:sldChg>
    </pc:docChg>
  </pc:docChgLst>
  <pc:docChgLst>
    <pc:chgData name="Guest User" userId="S::urn:spo:anon#83316ae98d3b6af30aec2ee586d2cdd5ca0af2fc6ed1d0f6b8a3ab3742f4ea89::" providerId="AD" clId="Web-{4A48B17B-BCD7-4EC8-682C-8C9C613CE4F0}"/>
    <pc:docChg chg="modSld">
      <pc:chgData name="Guest User" userId="S::urn:spo:anon#83316ae98d3b6af30aec2ee586d2cdd5ca0af2fc6ed1d0f6b8a3ab3742f4ea89::" providerId="AD" clId="Web-{4A48B17B-BCD7-4EC8-682C-8C9C613CE4F0}" dt="2024-06-27T06:21:43.885" v="0" actId="1076"/>
      <pc:docMkLst>
        <pc:docMk/>
      </pc:docMkLst>
      <pc:sldChg chg="modSp">
        <pc:chgData name="Guest User" userId="S::urn:spo:anon#83316ae98d3b6af30aec2ee586d2cdd5ca0af2fc6ed1d0f6b8a3ab3742f4ea89::" providerId="AD" clId="Web-{4A48B17B-BCD7-4EC8-682C-8C9C613CE4F0}" dt="2024-06-27T06:21:43.885" v="0" actId="1076"/>
        <pc:sldMkLst>
          <pc:docMk/>
          <pc:sldMk cId="2700089645" sldId="4024"/>
        </pc:sldMkLst>
      </pc:sldChg>
    </pc:docChg>
  </pc:docChgLst>
  <pc:docChgLst>
    <pc:chgData name="Rizky Aditya" userId="S::rizky.aditya@triputraenergi.com::52991656-54c1-45f8-96fe-8249ee811bf3" providerId="AD" clId="Web-{6FFC252D-C70D-95CA-385D-E87386BCFA0D}"/>
    <pc:docChg chg="modSld">
      <pc:chgData name="Rizky Aditya" userId="S::rizky.aditya@triputraenergi.com::52991656-54c1-45f8-96fe-8249ee811bf3" providerId="AD" clId="Web-{6FFC252D-C70D-95CA-385D-E87386BCFA0D}" dt="2024-09-19T03:21:28.397" v="28"/>
      <pc:docMkLst>
        <pc:docMk/>
      </pc:docMkLst>
      <pc:sldChg chg="modSp">
        <pc:chgData name="Rizky Aditya" userId="S::rizky.aditya@triputraenergi.com::52991656-54c1-45f8-96fe-8249ee811bf3" providerId="AD" clId="Web-{6FFC252D-C70D-95CA-385D-E87386BCFA0D}" dt="2024-09-19T03:13:10.335" v="0"/>
        <pc:sldMkLst>
          <pc:docMk/>
          <pc:sldMk cId="3853438254" sldId="4027"/>
        </pc:sldMkLst>
      </pc:sldChg>
      <pc:sldChg chg="addSp delSp modSp">
        <pc:chgData name="Rizky Aditya" userId="S::rizky.aditya@triputraenergi.com::52991656-54c1-45f8-96fe-8249ee811bf3" providerId="AD" clId="Web-{6FFC252D-C70D-95CA-385D-E87386BCFA0D}" dt="2024-09-19T03:21:28.397" v="28"/>
        <pc:sldMkLst>
          <pc:docMk/>
          <pc:sldMk cId="2153555081" sldId="4031"/>
        </pc:sldMkLst>
      </pc:sldChg>
    </pc:docChg>
  </pc:docChgLst>
  <pc:docChgLst>
    <pc:chgData name="Rizky Aditya" userId="52991656-54c1-45f8-96fe-8249ee811bf3" providerId="ADAL" clId="{FDB2EBF1-BA42-43D7-8833-DDB2871B90FB}"/>
    <pc:docChg chg="modSld delSection">
      <pc:chgData name="Rizky Aditya" userId="52991656-54c1-45f8-96fe-8249ee811bf3" providerId="ADAL" clId="{FDB2EBF1-BA42-43D7-8833-DDB2871B90FB}" dt="2024-09-03T04:12:36.943" v="1" actId="47"/>
      <pc:docMkLst>
        <pc:docMk/>
      </pc:docMkLst>
      <pc:sldChg chg="modSp mod">
        <pc:chgData name="Rizky Aditya" userId="52991656-54c1-45f8-96fe-8249ee811bf3" providerId="ADAL" clId="{FDB2EBF1-BA42-43D7-8833-DDB2871B90FB}" dt="2024-09-03T03:27:21.198" v="0" actId="1076"/>
        <pc:sldMkLst>
          <pc:docMk/>
          <pc:sldMk cId="2700089645" sldId="4024"/>
        </pc:sldMkLst>
      </pc:sldChg>
    </pc:docChg>
  </pc:docChgLst>
  <pc:docChgLst>
    <pc:chgData name="Siti Nur Anisah" userId="ef938a9b-f168-4166-ba81-4519e2c5e17d" providerId="ADAL" clId="{2B6FF0FB-D225-4D8F-9BB5-E6BB27BDA6A5}"/>
    <pc:docChg chg="undo custSel modSld">
      <pc:chgData name="Siti Nur Anisah" userId="ef938a9b-f168-4166-ba81-4519e2c5e17d" providerId="ADAL" clId="{2B6FF0FB-D225-4D8F-9BB5-E6BB27BDA6A5}" dt="2024-06-11T11:23:48.472" v="1" actId="14100"/>
      <pc:docMkLst>
        <pc:docMk/>
      </pc:docMkLst>
      <pc:sldChg chg="modSp mod">
        <pc:chgData name="Siti Nur Anisah" userId="ef938a9b-f168-4166-ba81-4519e2c5e17d" providerId="ADAL" clId="{2B6FF0FB-D225-4D8F-9BB5-E6BB27BDA6A5}" dt="2024-06-11T11:23:48.472" v="1" actId="14100"/>
        <pc:sldMkLst>
          <pc:docMk/>
          <pc:sldMk cId="1255580606" sldId="433"/>
        </pc:sldMkLst>
      </pc:sldChg>
    </pc:docChg>
  </pc:docChgLst>
  <pc:docChgLst>
    <pc:chgData name="Rizky Aditya" userId="52991656-54c1-45f8-96fe-8249ee811bf3" providerId="ADAL" clId="{53964DFB-F770-41A0-8249-C6787CEAF222}"/>
    <pc:docChg chg="undo custSel addSld delSld modSld sldOrd addSection delSection modSection">
      <pc:chgData name="Rizky Aditya" userId="52991656-54c1-45f8-96fe-8249ee811bf3" providerId="ADAL" clId="{53964DFB-F770-41A0-8249-C6787CEAF222}" dt="2024-06-27T06:03:23.959" v="5565" actId="20577"/>
      <pc:docMkLst>
        <pc:docMk/>
      </pc:docMkLst>
      <pc:sldChg chg="del">
        <pc:chgData name="Rizky Aditya" userId="52991656-54c1-45f8-96fe-8249ee811bf3" providerId="ADAL" clId="{53964DFB-F770-41A0-8249-C6787CEAF222}" dt="2024-06-19T01:51:52.705" v="0" actId="47"/>
        <pc:sldMkLst>
          <pc:docMk/>
          <pc:sldMk cId="2907044538" sldId="362"/>
        </pc:sldMkLst>
      </pc:sldChg>
      <pc:sldChg chg="del">
        <pc:chgData name="Rizky Aditya" userId="52991656-54c1-45f8-96fe-8249ee811bf3" providerId="ADAL" clId="{53964DFB-F770-41A0-8249-C6787CEAF222}" dt="2024-06-19T01:51:52.705" v="0" actId="47"/>
        <pc:sldMkLst>
          <pc:docMk/>
          <pc:sldMk cId="2568355935" sldId="430"/>
        </pc:sldMkLst>
      </pc:sldChg>
      <pc:sldChg chg="mod modShow">
        <pc:chgData name="Rizky Aditya" userId="52991656-54c1-45f8-96fe-8249ee811bf3" providerId="ADAL" clId="{53964DFB-F770-41A0-8249-C6787CEAF222}" dt="2024-06-19T03:15:51.598" v="1960" actId="729"/>
        <pc:sldMkLst>
          <pc:docMk/>
          <pc:sldMk cId="1689366057" sldId="431"/>
        </pc:sldMkLst>
      </pc:sldChg>
      <pc:sldChg chg="mod modShow">
        <pc:chgData name="Rizky Aditya" userId="52991656-54c1-45f8-96fe-8249ee811bf3" providerId="ADAL" clId="{53964DFB-F770-41A0-8249-C6787CEAF222}" dt="2024-06-19T03:15:51.598" v="1960" actId="729"/>
        <pc:sldMkLst>
          <pc:docMk/>
          <pc:sldMk cId="1255580606" sldId="433"/>
        </pc:sldMkLst>
      </pc:sldChg>
      <pc:sldChg chg="del">
        <pc:chgData name="Rizky Aditya" userId="52991656-54c1-45f8-96fe-8249ee811bf3" providerId="ADAL" clId="{53964DFB-F770-41A0-8249-C6787CEAF222}" dt="2024-06-19T01:51:52.705" v="0" actId="47"/>
        <pc:sldMkLst>
          <pc:docMk/>
          <pc:sldMk cId="3878810061" sldId="434"/>
        </pc:sldMkLst>
      </pc:sldChg>
      <pc:sldChg chg="mod modShow">
        <pc:chgData name="Rizky Aditya" userId="52991656-54c1-45f8-96fe-8249ee811bf3" providerId="ADAL" clId="{53964DFB-F770-41A0-8249-C6787CEAF222}" dt="2024-06-19T03:15:51.598" v="1960" actId="729"/>
        <pc:sldMkLst>
          <pc:docMk/>
          <pc:sldMk cId="3300756953" sldId="4023"/>
        </pc:sldMkLst>
      </pc:sldChg>
      <pc:sldChg chg="addSp delSp modSp add mod">
        <pc:chgData name="Rizky Aditya" userId="52991656-54c1-45f8-96fe-8249ee811bf3" providerId="ADAL" clId="{53964DFB-F770-41A0-8249-C6787CEAF222}" dt="2024-06-27T06:03:23.959" v="5565" actId="20577"/>
        <pc:sldMkLst>
          <pc:docMk/>
          <pc:sldMk cId="2700089645" sldId="4024"/>
        </pc:sldMkLst>
      </pc:sldChg>
      <pc:sldChg chg="addSp delSp modSp add del mod">
        <pc:chgData name="Rizky Aditya" userId="52991656-54c1-45f8-96fe-8249ee811bf3" providerId="ADAL" clId="{53964DFB-F770-41A0-8249-C6787CEAF222}" dt="2024-06-19T01:52:35.881" v="13" actId="47"/>
        <pc:sldMkLst>
          <pc:docMk/>
          <pc:sldMk cId="3398505767" sldId="4024"/>
        </pc:sldMkLst>
      </pc:sldChg>
      <pc:sldChg chg="addSp delSp modSp add mod">
        <pc:chgData name="Rizky Aditya" userId="52991656-54c1-45f8-96fe-8249ee811bf3" providerId="ADAL" clId="{53964DFB-F770-41A0-8249-C6787CEAF222}" dt="2024-06-27T06:02:31.950" v="5559" actId="20577"/>
        <pc:sldMkLst>
          <pc:docMk/>
          <pc:sldMk cId="1279478407" sldId="4025"/>
        </pc:sldMkLst>
      </pc:sldChg>
      <pc:sldChg chg="add del">
        <pc:chgData name="Rizky Aditya" userId="52991656-54c1-45f8-96fe-8249ee811bf3" providerId="ADAL" clId="{53964DFB-F770-41A0-8249-C6787CEAF222}" dt="2024-06-19T03:44:09.168" v="1970" actId="47"/>
        <pc:sldMkLst>
          <pc:docMk/>
          <pc:sldMk cId="2618734045" sldId="4025"/>
        </pc:sldMkLst>
      </pc:sldChg>
      <pc:sldChg chg="addSp delSp modSp add mod">
        <pc:chgData name="Rizky Aditya" userId="52991656-54c1-45f8-96fe-8249ee811bf3" providerId="ADAL" clId="{53964DFB-F770-41A0-8249-C6787CEAF222}" dt="2024-06-27T05:58:38.859" v="5150" actId="1076"/>
        <pc:sldMkLst>
          <pc:docMk/>
          <pc:sldMk cId="2859003556" sldId="4026"/>
        </pc:sldMkLst>
      </pc:sldChg>
      <pc:sldMasterChg chg="delSldLayout">
        <pc:chgData name="Rizky Aditya" userId="52991656-54c1-45f8-96fe-8249ee811bf3" providerId="ADAL" clId="{53964DFB-F770-41A0-8249-C6787CEAF222}" dt="2024-06-19T01:51:52.705" v="0" actId="47"/>
        <pc:sldMasterMkLst>
          <pc:docMk/>
          <pc:sldMasterMk cId="990448105" sldId="2147483822"/>
        </pc:sldMasterMkLst>
        <pc:sldLayoutChg chg="del">
          <pc:chgData name="Rizky Aditya" userId="52991656-54c1-45f8-96fe-8249ee811bf3" providerId="ADAL" clId="{53964DFB-F770-41A0-8249-C6787CEAF222}" dt="2024-06-19T01:51:52.705" v="0" actId="47"/>
          <pc:sldLayoutMkLst>
            <pc:docMk/>
            <pc:sldMasterMk cId="990448105" sldId="2147483822"/>
            <pc:sldLayoutMk cId="3143833987" sldId="2147483840"/>
          </pc:sldLayoutMkLst>
        </pc:sldLayoutChg>
      </pc:sldMasterChg>
    </pc:docChg>
  </pc:docChgLst>
  <pc:docChgLst>
    <pc:chgData name="Rizky Aditya" userId="52991656-54c1-45f8-96fe-8249ee811bf3" providerId="ADAL" clId="{92176A0A-EDDC-4083-96D1-DAEF628B3E16}"/>
    <pc:docChg chg="undo custSel addSld delSld modSld sldOrd addSection modSection">
      <pc:chgData name="Rizky Aditya" userId="52991656-54c1-45f8-96fe-8249ee811bf3" providerId="ADAL" clId="{92176A0A-EDDC-4083-96D1-DAEF628B3E16}" dt="2024-08-05T12:29:15.248" v="399" actId="47"/>
      <pc:docMkLst>
        <pc:docMk/>
      </pc:docMkLst>
      <pc:sldChg chg="del">
        <pc:chgData name="Rizky Aditya" userId="52991656-54c1-45f8-96fe-8249ee811bf3" providerId="ADAL" clId="{92176A0A-EDDC-4083-96D1-DAEF628B3E16}" dt="2024-08-05T12:29:15.248" v="399" actId="47"/>
        <pc:sldMkLst>
          <pc:docMk/>
          <pc:sldMk cId="1689366057" sldId="431"/>
        </pc:sldMkLst>
      </pc:sldChg>
      <pc:sldChg chg="del">
        <pc:chgData name="Rizky Aditya" userId="52991656-54c1-45f8-96fe-8249ee811bf3" providerId="ADAL" clId="{92176A0A-EDDC-4083-96D1-DAEF628B3E16}" dt="2024-08-05T12:29:15.248" v="399" actId="47"/>
        <pc:sldMkLst>
          <pc:docMk/>
          <pc:sldMk cId="1255580606" sldId="433"/>
        </pc:sldMkLst>
      </pc:sldChg>
      <pc:sldChg chg="del">
        <pc:chgData name="Rizky Aditya" userId="52991656-54c1-45f8-96fe-8249ee811bf3" providerId="ADAL" clId="{92176A0A-EDDC-4083-96D1-DAEF628B3E16}" dt="2024-08-05T12:29:15.248" v="399" actId="47"/>
        <pc:sldMkLst>
          <pc:docMk/>
          <pc:sldMk cId="3300756953" sldId="4023"/>
        </pc:sldMkLst>
      </pc:sldChg>
      <pc:sldChg chg="mod modShow">
        <pc:chgData name="Rizky Aditya" userId="52991656-54c1-45f8-96fe-8249ee811bf3" providerId="ADAL" clId="{92176A0A-EDDC-4083-96D1-DAEF628B3E16}" dt="2024-07-25T07:55:44.588" v="265" actId="729"/>
        <pc:sldMkLst>
          <pc:docMk/>
          <pc:sldMk cId="2700089645" sldId="4024"/>
        </pc:sldMkLst>
      </pc:sldChg>
      <pc:sldChg chg="mod modShow">
        <pc:chgData name="Rizky Aditya" userId="52991656-54c1-45f8-96fe-8249ee811bf3" providerId="ADAL" clId="{92176A0A-EDDC-4083-96D1-DAEF628B3E16}" dt="2024-07-25T07:55:44.588" v="265" actId="729"/>
        <pc:sldMkLst>
          <pc:docMk/>
          <pc:sldMk cId="1279478407" sldId="4025"/>
        </pc:sldMkLst>
      </pc:sldChg>
      <pc:sldChg chg="mod modShow">
        <pc:chgData name="Rizky Aditya" userId="52991656-54c1-45f8-96fe-8249ee811bf3" providerId="ADAL" clId="{92176A0A-EDDC-4083-96D1-DAEF628B3E16}" dt="2024-07-25T07:55:41.270" v="264" actId="729"/>
        <pc:sldMkLst>
          <pc:docMk/>
          <pc:sldMk cId="2859003556" sldId="4026"/>
        </pc:sldMkLst>
      </pc:sldChg>
      <pc:sldChg chg="new del">
        <pc:chgData name="Rizky Aditya" userId="52991656-54c1-45f8-96fe-8249ee811bf3" providerId="ADAL" clId="{92176A0A-EDDC-4083-96D1-DAEF628B3E16}" dt="2024-07-25T03:30:39.590" v="1" actId="680"/>
        <pc:sldMkLst>
          <pc:docMk/>
          <pc:sldMk cId="706824899" sldId="4027"/>
        </pc:sldMkLst>
      </pc:sldChg>
      <pc:sldChg chg="addSp delSp modSp add mod">
        <pc:chgData name="Rizky Aditya" userId="52991656-54c1-45f8-96fe-8249ee811bf3" providerId="ADAL" clId="{92176A0A-EDDC-4083-96D1-DAEF628B3E16}" dt="2024-07-25T08:11:58.176" v="338" actId="404"/>
        <pc:sldMkLst>
          <pc:docMk/>
          <pc:sldMk cId="3853438254" sldId="4027"/>
        </pc:sldMkLst>
      </pc:sldChg>
      <pc:sldChg chg="addSp delSp modSp add mod">
        <pc:chgData name="Rizky Aditya" userId="52991656-54c1-45f8-96fe-8249ee811bf3" providerId="ADAL" clId="{92176A0A-EDDC-4083-96D1-DAEF628B3E16}" dt="2024-07-25T08:15:44.033" v="398" actId="1036"/>
        <pc:sldMkLst>
          <pc:docMk/>
          <pc:sldMk cId="804872904" sldId="4028"/>
        </pc:sldMkLst>
      </pc:sldChg>
    </pc:docChg>
  </pc:docChgLst>
  <pc:docChgLst>
    <pc:chgData name="Rizky Aditya" userId="S::rizky.aditya@triputraenergi.com::52991656-54c1-45f8-96fe-8249ee811bf3" providerId="AD" clId="Web-{9A6EEC4C-D266-39ED-A0BF-8D16865D7F11}"/>
    <pc:docChg chg="sldOrd">
      <pc:chgData name="Rizky Aditya" userId="S::rizky.aditya@triputraenergi.com::52991656-54c1-45f8-96fe-8249ee811bf3" providerId="AD" clId="Web-{9A6EEC4C-D266-39ED-A0BF-8D16865D7F11}" dt="2024-09-16T04:16:20.792" v="0"/>
      <pc:docMkLst>
        <pc:docMk/>
      </pc:docMkLst>
      <pc:sldChg chg="ord">
        <pc:chgData name="Rizky Aditya" userId="S::rizky.aditya@triputraenergi.com::52991656-54c1-45f8-96fe-8249ee811bf3" providerId="AD" clId="Web-{9A6EEC4C-D266-39ED-A0BF-8D16865D7F11}" dt="2024-09-16T04:16:20.792" v="0"/>
        <pc:sldMkLst>
          <pc:docMk/>
          <pc:sldMk cId="802796825" sldId="4030"/>
        </pc:sldMkLst>
      </pc:sldChg>
    </pc:docChg>
  </pc:docChgLst>
  <pc:docChgLst>
    <pc:chgData name="Rizky Aditya" userId="52991656-54c1-45f8-96fe-8249ee811bf3" providerId="ADAL" clId="{F4D53A8A-6F3A-4B5E-A1EC-96BFF7854B88}"/>
    <pc:docChg chg="undo custSel addSld delSld modSld modSection">
      <pc:chgData name="Rizky Aditya" userId="52991656-54c1-45f8-96fe-8249ee811bf3" providerId="ADAL" clId="{F4D53A8A-6F3A-4B5E-A1EC-96BFF7854B88}" dt="2024-09-18T09:26:32.693" v="873" actId="20577"/>
      <pc:docMkLst>
        <pc:docMk/>
      </pc:docMkLst>
      <pc:sldChg chg="modSp mod">
        <pc:chgData name="Rizky Aditya" userId="52991656-54c1-45f8-96fe-8249ee811bf3" providerId="ADAL" clId="{F4D53A8A-6F3A-4B5E-A1EC-96BFF7854B88}" dt="2024-09-18T07:08:40.553" v="72" actId="20577"/>
        <pc:sldMkLst>
          <pc:docMk/>
          <pc:sldMk cId="3853438254" sldId="4027"/>
        </pc:sldMkLst>
      </pc:sldChg>
      <pc:sldChg chg="modSp add del mod">
        <pc:chgData name="Rizky Aditya" userId="52991656-54c1-45f8-96fe-8249ee811bf3" providerId="ADAL" clId="{F4D53A8A-6F3A-4B5E-A1EC-96BFF7854B88}" dt="2024-09-18T06:44:57.289" v="3" actId="47"/>
        <pc:sldMkLst>
          <pc:docMk/>
          <pc:sldMk cId="900198641" sldId="4031"/>
        </pc:sldMkLst>
      </pc:sldChg>
      <pc:sldChg chg="modSp add mod modNotesTx">
        <pc:chgData name="Rizky Aditya" userId="52991656-54c1-45f8-96fe-8249ee811bf3" providerId="ADAL" clId="{F4D53A8A-6F3A-4B5E-A1EC-96BFF7854B88}" dt="2024-09-18T09:26:32.693" v="873" actId="20577"/>
        <pc:sldMkLst>
          <pc:docMk/>
          <pc:sldMk cId="2153555081" sldId="4031"/>
        </pc:sldMkLst>
      </pc:sldChg>
      <pc:sldChg chg="addSp delSp modSp add mod modNotesTx">
        <pc:chgData name="Rizky Aditya" userId="52991656-54c1-45f8-96fe-8249ee811bf3" providerId="ADAL" clId="{F4D53A8A-6F3A-4B5E-A1EC-96BFF7854B88}" dt="2024-09-18T09:26:29.385" v="872" actId="20577"/>
        <pc:sldMkLst>
          <pc:docMk/>
          <pc:sldMk cId="368178181" sldId="4032"/>
        </pc:sldMkLst>
      </pc:sldChg>
    </pc:docChg>
  </pc:docChgLst>
  <pc:docChgLst>
    <pc:chgData name="Rizky Aditya" userId="52991656-54c1-45f8-96fe-8249ee811bf3" providerId="ADAL" clId="{557ED77D-C9A2-42C5-8755-6938D25D29C8}"/>
    <pc:docChg chg="undo custSel addSld delSld modSld sldOrd delSection modSection">
      <pc:chgData name="Rizky Aditya" userId="52991656-54c1-45f8-96fe-8249ee811bf3" providerId="ADAL" clId="{557ED77D-C9A2-42C5-8755-6938D25D29C8}" dt="2024-09-04T02:26:23.605" v="1870" actId="27918"/>
      <pc:docMkLst>
        <pc:docMk/>
      </pc:docMkLst>
      <pc:sldChg chg="del">
        <pc:chgData name="Rizky Aditya" userId="52991656-54c1-45f8-96fe-8249ee811bf3" providerId="ADAL" clId="{557ED77D-C9A2-42C5-8755-6938D25D29C8}" dt="2024-09-03T04:22:32.541" v="46" actId="47"/>
        <pc:sldMkLst>
          <pc:docMk/>
          <pc:sldMk cId="2700089645" sldId="4024"/>
        </pc:sldMkLst>
      </pc:sldChg>
      <pc:sldChg chg="del">
        <pc:chgData name="Rizky Aditya" userId="52991656-54c1-45f8-96fe-8249ee811bf3" providerId="ADAL" clId="{557ED77D-C9A2-42C5-8755-6938D25D29C8}" dt="2024-09-03T04:29:34.708" v="247" actId="47"/>
        <pc:sldMkLst>
          <pc:docMk/>
          <pc:sldMk cId="1279478407" sldId="4025"/>
        </pc:sldMkLst>
      </pc:sldChg>
      <pc:sldChg chg="del">
        <pc:chgData name="Rizky Aditya" userId="52991656-54c1-45f8-96fe-8249ee811bf3" providerId="ADAL" clId="{557ED77D-C9A2-42C5-8755-6938D25D29C8}" dt="2024-09-03T04:29:34.708" v="247" actId="47"/>
        <pc:sldMkLst>
          <pc:docMk/>
          <pc:sldMk cId="2859003556" sldId="4026"/>
        </pc:sldMkLst>
      </pc:sldChg>
      <pc:sldChg chg="addSp delSp modSp mod modNotesTx">
        <pc:chgData name="Rizky Aditya" userId="52991656-54c1-45f8-96fe-8249ee811bf3" providerId="ADAL" clId="{557ED77D-C9A2-42C5-8755-6938D25D29C8}" dt="2024-09-03T08:20:02.783" v="1868" actId="20577"/>
        <pc:sldMkLst>
          <pc:docMk/>
          <pc:sldMk cId="3853438254" sldId="4027"/>
        </pc:sldMkLst>
      </pc:sldChg>
      <pc:sldChg chg="mod modShow">
        <pc:chgData name="Rizky Aditya" userId="52991656-54c1-45f8-96fe-8249ee811bf3" providerId="ADAL" clId="{557ED77D-C9A2-42C5-8755-6938D25D29C8}" dt="2024-09-03T04:31:06.862" v="263" actId="729"/>
        <pc:sldMkLst>
          <pc:docMk/>
          <pc:sldMk cId="804872904" sldId="4028"/>
        </pc:sldMkLst>
      </pc:sldChg>
      <pc:sldChg chg="addSp delSp modSp add mod ord modShow">
        <pc:chgData name="Rizky Aditya" userId="52991656-54c1-45f8-96fe-8249ee811bf3" providerId="ADAL" clId="{557ED77D-C9A2-42C5-8755-6938D25D29C8}" dt="2024-09-04T02:26:23.605" v="1870" actId="27918"/>
        <pc:sldMkLst>
          <pc:docMk/>
          <pc:sldMk cId="3033883038" sldId="4029"/>
        </pc:sldMkLst>
      </pc:sldChg>
      <pc:sldChg chg="addSp delSp modSp add mod modShow">
        <pc:chgData name="Rizky Aditya" userId="52991656-54c1-45f8-96fe-8249ee811bf3" providerId="ADAL" clId="{557ED77D-C9A2-42C5-8755-6938D25D29C8}" dt="2024-09-03T05:38:41.171" v="1175" actId="478"/>
        <pc:sldMkLst>
          <pc:docMk/>
          <pc:sldMk cId="802796825" sldId="4030"/>
        </pc:sldMkLst>
      </pc:sldChg>
      <pc:sldChg chg="new del">
        <pc:chgData name="Rizky Aditya" userId="52991656-54c1-45f8-96fe-8249ee811bf3" providerId="ADAL" clId="{557ED77D-C9A2-42C5-8755-6938D25D29C8}" dt="2024-09-03T04:27:27.042" v="178" actId="680"/>
        <pc:sldMkLst>
          <pc:docMk/>
          <pc:sldMk cId="3921084430" sldId="4030"/>
        </pc:sldMkLst>
      </pc:sldChg>
      <pc:sldChg chg="add del">
        <pc:chgData name="Rizky Aditya" userId="52991656-54c1-45f8-96fe-8249ee811bf3" providerId="ADAL" clId="{557ED77D-C9A2-42C5-8755-6938D25D29C8}" dt="2024-09-03T08:11:24.597" v="1531" actId="47"/>
        <pc:sldMkLst>
          <pc:docMk/>
          <pc:sldMk cId="3077361029" sldId="4031"/>
        </pc:sldMkLst>
      </pc:sldChg>
    </pc:docChg>
  </pc:docChgLst>
  <pc:docChgLst>
    <pc:chgData name="Rizky Fajar" userId="490a5c0ae4650a6d" providerId="LiveId" clId="{62596CC9-5296-4DC9-A70E-92DD63ED83D6}"/>
    <pc:docChg chg="undo redo custSel addSld delSld modSld modSection">
      <pc:chgData name="Rizky Fajar" userId="490a5c0ae4650a6d" providerId="LiveId" clId="{62596CC9-5296-4DC9-A70E-92DD63ED83D6}" dt="2024-11-19T15:37:25.444" v="5514" actId="20577"/>
      <pc:docMkLst>
        <pc:docMk/>
      </pc:docMkLst>
      <pc:sldChg chg="addSp delSp modSp del mod">
        <pc:chgData name="Rizky Fajar" userId="490a5c0ae4650a6d" providerId="LiveId" clId="{62596CC9-5296-4DC9-A70E-92DD63ED83D6}" dt="2024-11-19T15:34:07.353" v="5469" actId="47"/>
        <pc:sldMkLst>
          <pc:docMk/>
          <pc:sldMk cId="3425220804" sldId="4032"/>
        </pc:sldMkLst>
      </pc:sldChg>
      <pc:sldChg chg="del">
        <pc:chgData name="Rizky Fajar" userId="490a5c0ae4650a6d" providerId="LiveId" clId="{62596CC9-5296-4DC9-A70E-92DD63ED83D6}" dt="2024-11-19T15:34:07.353" v="5469" actId="47"/>
        <pc:sldMkLst>
          <pc:docMk/>
          <pc:sldMk cId="1555091660" sldId="4033"/>
        </pc:sldMkLst>
      </pc:sldChg>
      <pc:sldChg chg="addSp delSp modSp add mod">
        <pc:chgData name="Rizky Fajar" userId="490a5c0ae4650a6d" providerId="LiveId" clId="{62596CC9-5296-4DC9-A70E-92DD63ED83D6}" dt="2024-11-19T15:35:22.975" v="5472"/>
        <pc:sldMkLst>
          <pc:docMk/>
          <pc:sldMk cId="2391068577" sldId="4035"/>
        </pc:sldMkLst>
      </pc:sldChg>
      <pc:sldChg chg="addSp delSp modSp add mod">
        <pc:chgData name="Rizky Fajar" userId="490a5c0ae4650a6d" providerId="LiveId" clId="{62596CC9-5296-4DC9-A70E-92DD63ED83D6}" dt="2024-11-19T15:26:45.996" v="5045" actId="1035"/>
        <pc:sldMkLst>
          <pc:docMk/>
          <pc:sldMk cId="3655741543" sldId="4036"/>
        </pc:sldMkLst>
      </pc:sldChg>
      <pc:sldChg chg="addSp delSp modSp add mod">
        <pc:chgData name="Rizky Fajar" userId="490a5c0ae4650a6d" providerId="LiveId" clId="{62596CC9-5296-4DC9-A70E-92DD63ED83D6}" dt="2024-11-19T15:37:15.855" v="5485" actId="20577"/>
        <pc:sldMkLst>
          <pc:docMk/>
          <pc:sldMk cId="3783977622" sldId="4037"/>
        </pc:sldMkLst>
      </pc:sldChg>
      <pc:sldChg chg="addSp delSp modSp add mod">
        <pc:chgData name="Rizky Fajar" userId="490a5c0ae4650a6d" providerId="LiveId" clId="{62596CC9-5296-4DC9-A70E-92DD63ED83D6}" dt="2024-11-19T15:37:25.444" v="5514" actId="20577"/>
        <pc:sldMkLst>
          <pc:docMk/>
          <pc:sldMk cId="962050034" sldId="4038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venue in (IDR Bn)</c:v>
                </c:pt>
              </c:strCache>
            </c:strRef>
          </c:tx>
          <c:spPr>
            <a:solidFill>
              <a:srgbClr val="00A2ED"/>
            </a:solidFill>
            <a:ln>
              <a:solidFill>
                <a:srgbClr val="00A7F3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1!$B$2:$B$6</c:f>
              <c:numCache>
                <c:formatCode>_-* #,##0_-;\-* #,##0_-;_-* "-"??_-;_-@_-</c:formatCode>
                <c:ptCount val="5"/>
                <c:pt idx="0">
                  <c:v>50000000000</c:v>
                </c:pt>
                <c:pt idx="1">
                  <c:v>48000000000</c:v>
                </c:pt>
                <c:pt idx="2">
                  <c:v>45000000000</c:v>
                </c:pt>
                <c:pt idx="3">
                  <c:v>40000000000</c:v>
                </c:pt>
                <c:pt idx="4">
                  <c:v>37000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06-41EE-A020-AFB7983CA1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29096687"/>
        <c:axId val="2129109167"/>
      </c:barChart>
      <c:catAx>
        <c:axId val="21290966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2129109167"/>
        <c:crosses val="autoZero"/>
        <c:auto val="1"/>
        <c:lblAlgn val="ctr"/>
        <c:lblOffset val="100"/>
        <c:noMultiLvlLbl val="0"/>
      </c:catAx>
      <c:valAx>
        <c:axId val="2129109167"/>
        <c:scaling>
          <c:orientation val="minMax"/>
        </c:scaling>
        <c:delete val="1"/>
        <c:axPos val="l"/>
        <c:numFmt formatCode="_-* #,##0_-;\-* #,##0_-;_-* &quot;-&quot;??_-;_-@_-" sourceLinked="1"/>
        <c:majorTickMark val="out"/>
        <c:minorTickMark val="none"/>
        <c:tickLblPos val="nextTo"/>
        <c:crossAx val="2129096687"/>
        <c:crosses val="autoZero"/>
        <c:crossBetween val="between"/>
        <c:dispUnits>
          <c:builtInUnit val="b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o Hailing</c:v>
                </c:pt>
              </c:strCache>
            </c:strRef>
          </c:tx>
          <c:spPr>
            <a:ln w="28575" cap="rnd">
              <a:solidFill>
                <a:srgbClr val="00A2ED"/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1B5-49EF-B6B0-6DF28E524684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1B5-49EF-B6B0-6DF28E52468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1B5-49EF-B6B0-6DF28E524684}"/>
                </c:ext>
              </c:extLst>
            </c:dLbl>
            <c:dLbl>
              <c:idx val="4"/>
              <c:layout>
                <c:manualLayout>
                  <c:x val="-4.3261070261949745E-2"/>
                  <c:y val="5.80548822028929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1B5-49EF-B6B0-6DF28E52468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A2ED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1!$B$2:$B$6</c:f>
              <c:numCache>
                <c:formatCode>_-* #,##0_-;\-* #,##0_-;_-* "-"??_-;_-@_-</c:formatCode>
                <c:ptCount val="5"/>
                <c:pt idx="0">
                  <c:v>1000</c:v>
                </c:pt>
                <c:pt idx="1">
                  <c:v>950</c:v>
                </c:pt>
                <c:pt idx="2">
                  <c:v>900</c:v>
                </c:pt>
                <c:pt idx="3">
                  <c:v>850</c:v>
                </c:pt>
                <c:pt idx="4">
                  <c:v>8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F06-41EE-A020-AFB7983CA19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dustry Benchmark</c:v>
                </c:pt>
              </c:strCache>
            </c:strRef>
          </c:tx>
          <c:spPr>
            <a:ln w="28575" cap="rnd">
              <a:solidFill>
                <a:srgbClr val="051C2C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6.1255969307900185E-2"/>
                  <c:y val="6.720095580069913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1B5-49EF-B6B0-6DF28E524684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1B5-49EF-B6B0-6DF28E524684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1B5-49EF-B6B0-6DF28E52468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1B5-49EF-B6B0-6DF28E52468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51C2C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800</c:v>
                </c:pt>
                <c:pt idx="1">
                  <c:v>850</c:v>
                </c:pt>
                <c:pt idx="2">
                  <c:v>920</c:v>
                </c:pt>
                <c:pt idx="3">
                  <c:v>930</c:v>
                </c:pt>
                <c:pt idx="4">
                  <c:v>9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1B5-49EF-B6B0-6DF28E524684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129096687"/>
        <c:axId val="2129109167"/>
      </c:lineChart>
      <c:catAx>
        <c:axId val="21290966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en-US"/>
          </a:p>
        </c:txPr>
        <c:crossAx val="2129109167"/>
        <c:crosses val="autoZero"/>
        <c:auto val="1"/>
        <c:lblAlgn val="ctr"/>
        <c:lblOffset val="100"/>
        <c:noMultiLvlLbl val="0"/>
      </c:catAx>
      <c:valAx>
        <c:axId val="2129109167"/>
        <c:scaling>
          <c:orientation val="minMax"/>
        </c:scaling>
        <c:delete val="1"/>
        <c:axPos val="l"/>
        <c:numFmt formatCode="_-* #,##0_-;\-* #,##0_-;_-* &quot;-&quot;??_-;_-@_-" sourceLinked="1"/>
        <c:majorTickMark val="out"/>
        <c:minorTickMark val="none"/>
        <c:tickLblPos val="nextTo"/>
        <c:crossAx val="2129096687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ECADB0-8EA0-43D8-860A-195F1C2C97E1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8C3C71-FB28-4AFC-BF26-DF779D193A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2865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0F54C9-44EC-C74A-E92F-6DAEAB1A5D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2F09844-3BFC-C80E-E045-088A0227CB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1DAB58-1D1E-D40F-75C4-B931DC08AB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53A8D7-EB85-72C3-771D-C5C9685B1A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1880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10DD2E-A24D-5945-9060-5EB49D1588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1706BAB-0AD4-DDA2-8CE3-09E8C99531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810364-C6CB-00B0-5810-F666F31088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86351F-9B9C-B314-8D73-B1611C311D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36563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A3AB0B-A907-22A2-5871-58C7497490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79BE9A0-4D22-5441-2298-270907614D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D326D7-FC40-24FF-7776-AD108063D7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84CDDF-8893-D2EE-D6AB-F8303E9E5C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82469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C643D5-C76F-C8D4-EACD-FE4CA8391F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4DC8235-6E01-1B7E-670C-B8BA97B06B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A2AD65-412B-37D9-361F-1CA35D23EE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C0CA66-C383-E27E-E1AA-27EFE7AA074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1735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B08FFF-5C0D-2DF5-6B5E-99EDB9D8E9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B65D62C-8086-505A-DE8E-66D14D5F23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5ECA97D-4DB9-A7E2-B0E2-2E31A6E9BE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2F23CE-4E4F-667C-435C-96B515023E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1021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6E9651-65D9-B91D-19A6-6D0BCD836D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2005447-2FAA-A001-9195-F4881BA18B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44096E0-5F15-286F-F02F-DF66FD384B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8745D6-6491-9E05-31A5-A67B244EFD9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94717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EA15EA-FC7D-445C-9718-33929D28AC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3907776-1F7A-32E7-FADB-D9749AE3A6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B712FFD-4FA1-B254-EC3C-0C78F5BDC7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61440C-EB05-6625-AD0C-F5825C17E0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72855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826114-4E98-6F3F-60D9-86424C1B00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38253B8-E67C-107A-9CB5-7B2FFE6ABF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04BF92-DF8A-9AA5-6DDE-6E01A65658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44527F-4B3A-2C8D-FA57-62E8407548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235812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953C07-6614-A233-4DAC-2BFA9EAE8F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DFB7B29-2AC8-FD25-9FA1-7B3F9DB8B8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4FE360E-F0D7-9C07-ED82-ABDD0EA2A6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9BC780-DD93-BC40-A452-E71FF41C40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9819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A92DAE-C233-FC63-39C3-D67E3D7014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8FE00BB-E7FD-BAA0-3EEA-E330C00AE1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999833-B22D-B933-A820-5E53EFF13A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C3A00-81E8-DE3B-1030-824F27CEC09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268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F6BBCC-26FC-FDF4-FAC4-D4B5759003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EE3D316-95A4-BAED-76BB-D94CC4D9A0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C07163-26F9-F67E-4BBC-D31E23B15C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7350A8-3C45-16D8-68FA-5C1C76532D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9117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3E6A19-6326-768D-53D0-F3CDF38320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AA3AA9-9A60-5409-5A0E-B2D4CAC737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E24CA10-41B3-79EF-1397-F4B33429DF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6CDEB7-986F-5F43-D533-E21DEE2C50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92133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52E33A-F5B1-9D6D-7C96-ABB29970F4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97BBCE2-DF2D-7127-5F8C-703B9E5A7A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5533D50-D4A7-5ED4-D652-C052652E14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2F99F4-9B7B-537B-EA21-D34F1EC30B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3560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8E71B4-78EC-93A8-A88B-813D8B5E36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453017E-FD24-8CDA-284A-7D4CB2FD3A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1E0E53-C489-9B76-A8F8-DD16D0743B4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4FFEF8-63D1-CF4B-A149-76F363C001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72460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7B4AFE-A4CC-AC96-18F0-A02063C4C0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BC0DBE-81BB-F175-FE17-97BF928800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9DB193-F2C5-1C3A-CD0F-EB89F8260C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D3233-B2A7-0E54-A461-E0983D0E78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84809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851E27-7557-9B3C-3CB6-80CFF15CEF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A732AF-B2EC-5E5F-9045-B599EEBCE3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577690-1A11-1C94-F48A-D043009D33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B4695E-998B-923A-FCDC-18DCA43F6E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1628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4B84E1-E344-411B-4D78-146B97AB18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901FF39-6BA6-88A1-CA6B-21EFD47BE1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3FA562-CCDA-5217-34AE-B61A293A2D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20F97D-0A10-5E72-FEFD-BB9F65801E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6059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ED8528-E7E8-E42A-CD1F-E5DA42A57A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45C962A-BB6A-9877-11B9-1F3BECA158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26B548C-DD45-A53B-4E36-6A4FC2ACA6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F88160-605C-32E4-2C76-E3CCCBE90E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8C3C71-FB28-4AFC-BF26-DF779D193A1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76320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8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8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aphic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325080"/>
            <a:ext cx="12192000" cy="3081528"/>
          </a:xfrm>
          <a:prstGeom prst="rect">
            <a:avLst/>
          </a:prstGeom>
          <a:gradFill flip="none" rotWithShape="1">
            <a:gsLst>
              <a:gs pos="30000">
                <a:schemeClr val="accent1"/>
              </a:gs>
              <a:gs pos="100000">
                <a:schemeClr val="accent2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srgbClr val="000000"/>
              </a:solidFill>
            </a:endParaRPr>
          </a:p>
        </p:txBody>
      </p:sp>
      <p:pic>
        <p:nvPicPr>
          <p:cNvPr id="9" name="Picture 8" descr="EM_pattern_PowerPoint_White.png"/>
          <p:cNvPicPr>
            <a:picLocks noChangeAspect="1"/>
          </p:cNvPicPr>
          <p:nvPr userDrawn="1"/>
        </p:nvPicPr>
        <p:blipFill>
          <a:blip r:embed="rId2">
            <a:alphaModFix amt="6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5080"/>
            <a:ext cx="12192000" cy="308457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 bwMode="white">
          <a:xfrm>
            <a:off x="633985" y="1900826"/>
            <a:ext cx="10942067" cy="18288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405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 bwMode="white">
          <a:xfrm>
            <a:off x="633984" y="1576846"/>
            <a:ext cx="4876800" cy="314325"/>
          </a:xfrm>
        </p:spPr>
        <p:txBody>
          <a:bodyPr/>
          <a:lstStyle>
            <a:lvl1pPr marL="0" indent="0">
              <a:buNone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 descr="exmo_elh_tm_w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896" y="3981643"/>
            <a:ext cx="2389632" cy="324454"/>
          </a:xfrm>
          <a:prstGeom prst="rect">
            <a:avLst/>
          </a:prstGeom>
        </p:spPr>
      </p:pic>
      <p:pic>
        <p:nvPicPr>
          <p:cNvPr id="15" name="Picture 14" descr="exmo_red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white">
          <a:xfrm>
            <a:off x="8613987" y="432873"/>
            <a:ext cx="2999232" cy="45085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0914887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5A5A5A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7488280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41035" y="2998791"/>
            <a:ext cx="7509933" cy="106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166685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oid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20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1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3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5298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41035" y="2998791"/>
            <a:ext cx="7509933" cy="106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1493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actoid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20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1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3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606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oi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1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30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4784973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ctoid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6798733" y="1773936"/>
            <a:ext cx="4871579" cy="18288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lnSpc>
                <a:spcPct val="90000"/>
              </a:lnSpc>
              <a:buNone/>
              <a:defRPr lang="en-US" sz="9900" b="0" i="0" baseline="0" dirty="0" smtClean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Data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609601" y="1773936"/>
            <a:ext cx="4871579" cy="18288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90000"/>
              </a:lnSpc>
              <a:buNone/>
              <a:defRPr lang="en-US" sz="9900" dirty="0" smtClean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1" y="3576638"/>
            <a:ext cx="487157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24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6798733" y="3576638"/>
            <a:ext cx="487157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24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5963061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ex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07484" y="1143000"/>
            <a:ext cx="10972800" cy="4572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5400" b="0" baseline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3066647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ext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ctrTitle"/>
          </p:nvPr>
        </p:nvSpPr>
        <p:spPr>
          <a:xfrm>
            <a:off x="609600" y="1147064"/>
            <a:ext cx="10972800" cy="45638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5400" b="0" baseline="0" dirty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506903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">
    <p:bg>
      <p:bgPr>
        <a:gradFill rotWithShape="1">
          <a:gsLst>
            <a:gs pos="0">
              <a:schemeClr val="accent1"/>
            </a:gs>
            <a:gs pos="100000">
              <a:schemeClr val="accent2"/>
            </a:gs>
          </a:gsLst>
          <a:lin ang="189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ctrTitle"/>
          </p:nvPr>
        </p:nvSpPr>
        <p:spPr>
          <a:xfrm>
            <a:off x="609600" y="1147064"/>
            <a:ext cx="10972800" cy="45638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5400" b="0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3236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ing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600" y="1143000"/>
            <a:ext cx="10972800" cy="4572000"/>
          </a:xfrm>
        </p:spPr>
        <p:txBody>
          <a:bodyPr anchor="ctr"/>
          <a:lstStyle>
            <a:lvl1pPr marL="0" indent="0">
              <a:buNone/>
              <a:defRPr sz="3300">
                <a:solidFill>
                  <a:schemeClr val="bg1"/>
                </a:solidFill>
              </a:defRPr>
            </a:lvl1pPr>
            <a:lvl2pPr marL="1191" indent="0">
              <a:buNone/>
              <a:defRPr sz="3300">
                <a:solidFill>
                  <a:schemeClr val="bg1"/>
                </a:solidFill>
              </a:defRPr>
            </a:lvl2pPr>
            <a:lvl3pPr>
              <a:defRPr sz="3300"/>
            </a:lvl3pPr>
            <a:lvl4pPr>
              <a:defRPr sz="3300"/>
            </a:lvl4pPr>
            <a:lvl5pPr>
              <a:defRPr sz="3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9406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9" y="1309688"/>
            <a:ext cx="10967199" cy="481330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144" y="27432"/>
            <a:ext cx="10972800" cy="457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40182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ing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600" y="1143000"/>
            <a:ext cx="10972800" cy="4572000"/>
          </a:xfrm>
        </p:spPr>
        <p:txBody>
          <a:bodyPr anchor="ctr"/>
          <a:lstStyle>
            <a:lvl1pPr marL="0" indent="0">
              <a:buNone/>
              <a:defRPr sz="3300">
                <a:solidFill>
                  <a:srgbClr val="000000"/>
                </a:solidFill>
              </a:defRPr>
            </a:lvl1pPr>
            <a:lvl2pPr marL="1191" indent="0">
              <a:buNone/>
              <a:defRPr sz="3300">
                <a:solidFill>
                  <a:srgbClr val="000000"/>
                </a:solidFill>
              </a:defRPr>
            </a:lvl2pPr>
            <a:lvl3pPr>
              <a:defRPr sz="3300"/>
            </a:lvl3pPr>
            <a:lvl4pPr>
              <a:defRPr sz="3300"/>
            </a:lvl4pPr>
            <a:lvl5pPr>
              <a:defRPr sz="3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4311045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9" y="1592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9" y="1592"/>
                        <a:ext cx="20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0574" y="1886400"/>
            <a:ext cx="11030857" cy="4445000"/>
          </a:xfrm>
        </p:spPr>
        <p:txBody>
          <a:bodyPr/>
          <a:lstStyle>
            <a:lvl1pPr marL="128588" indent="-128588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4615" indent="-214313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1775" indent="-214313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8935" indent="-214313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9237" indent="-214313">
              <a:defRPr lang="en-US" sz="1050" kern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37160" lvl="0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137160" lvl="1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  <a:p>
            <a:pPr marL="137160" lvl="2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7160" lvl="3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37160" lvl="4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0574" y="1400176"/>
            <a:ext cx="11030857" cy="2308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28588" indent="-128588">
              <a:buNone/>
              <a:defRPr lang="en-US" b="1" smtClean="0">
                <a:solidFill>
                  <a:schemeClr val="accent1"/>
                </a:solidFill>
                <a:sym typeface="+mn-lt"/>
              </a:defRPr>
            </a:lvl1pPr>
            <a:lvl2pPr marL="214313" indent="-214313">
              <a:buNone/>
              <a:defRPr lang="en-US" smtClean="0">
                <a:solidFill>
                  <a:schemeClr val="accent1"/>
                </a:solidFill>
                <a:sym typeface="+mn-lt"/>
              </a:defRPr>
            </a:lvl2pPr>
            <a:lvl3pPr marL="270459" indent="0">
              <a:buNone/>
              <a:defRPr lang="en-US" sz="750" smtClean="0">
                <a:solidFill>
                  <a:schemeClr val="accent2"/>
                </a:solidFill>
                <a:sym typeface="+mn-lt"/>
              </a:defRPr>
            </a:lvl3pPr>
            <a:lvl4pPr marL="405459" indent="0">
              <a:buNone/>
              <a:defRPr lang="en-US" sz="750" smtClean="0">
                <a:solidFill>
                  <a:schemeClr val="accent2"/>
                </a:solidFill>
                <a:sym typeface="+mn-lt"/>
              </a:defRPr>
            </a:lvl4pPr>
            <a:lvl5pPr marL="540000" indent="0">
              <a:buNone/>
              <a:defRPr lang="en-GB" sz="750">
                <a:solidFill>
                  <a:schemeClr val="accent2"/>
                </a:solidFill>
                <a:sym typeface="+mn-lt"/>
              </a:defRPr>
            </a:lvl5pPr>
          </a:lstStyle>
          <a:p>
            <a:pPr marL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/>
              <a:t>Heading 14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9462697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EFC12A-CA49-40F4-A83B-A0A89DB8EF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23906C-AB1D-46F5-8949-E4A437CB6A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DB6278-5E7C-4AFF-9146-33F44F2393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E041A4-3024-4BA9-B23C-FE2E15925233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4342CE-DDB0-4922-964F-A97227769E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C78B19-2739-469D-B542-4219716BB2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5E652-BB65-4935-9F3D-9D87B8B4CF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25066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42D158-9F01-46CC-95BB-ADE27FBF1D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53B6C61-8CE6-4844-8A5C-75B80039AD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561860-6BB3-4E3E-B07B-C88BE87565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16990-A7B9-4291-9CC6-0E7ED1129EA5}" type="datetimeFigureOut">
              <a:rPr lang="en-ID" smtClean="0"/>
              <a:t>19/02/2025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F1813B-5975-4DE9-977D-AAAC3516E7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CC4534-B0FF-4738-A265-7083064A1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305EDF-0D80-4BE9-8646-8DF3EEA7C82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035772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aphic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325080"/>
            <a:ext cx="12192000" cy="3081528"/>
          </a:xfrm>
          <a:prstGeom prst="rect">
            <a:avLst/>
          </a:prstGeom>
          <a:gradFill flip="none" rotWithShape="1">
            <a:gsLst>
              <a:gs pos="30000">
                <a:schemeClr val="accent1"/>
              </a:gs>
              <a:gs pos="100000">
                <a:schemeClr val="accent2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srgbClr val="000000"/>
              </a:solidFill>
            </a:endParaRPr>
          </a:p>
        </p:txBody>
      </p:sp>
      <p:pic>
        <p:nvPicPr>
          <p:cNvPr id="9" name="Picture 8" descr="EM_pattern_PowerPoint_White.png"/>
          <p:cNvPicPr>
            <a:picLocks noChangeAspect="1"/>
          </p:cNvPicPr>
          <p:nvPr userDrawn="1"/>
        </p:nvPicPr>
        <p:blipFill>
          <a:blip r:embed="rId2">
            <a:alphaModFix amt="6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5080"/>
            <a:ext cx="12192000" cy="308457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 bwMode="white">
          <a:xfrm>
            <a:off x="633985" y="1900826"/>
            <a:ext cx="10942067" cy="18288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405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 bwMode="white">
          <a:xfrm>
            <a:off x="633984" y="1576846"/>
            <a:ext cx="4876800" cy="314325"/>
          </a:xfrm>
        </p:spPr>
        <p:txBody>
          <a:bodyPr/>
          <a:lstStyle>
            <a:lvl1pPr marL="0" indent="0">
              <a:buNone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 descr="exmo_elh_tm_w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896" y="3981643"/>
            <a:ext cx="2389632" cy="324454"/>
          </a:xfrm>
          <a:prstGeom prst="rect">
            <a:avLst/>
          </a:prstGeom>
        </p:spPr>
      </p:pic>
      <p:pic>
        <p:nvPicPr>
          <p:cNvPr id="15" name="Picture 14" descr="exmo_red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white">
          <a:xfrm>
            <a:off x="8613987" y="432873"/>
            <a:ext cx="2999232" cy="45085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0914887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5A5A5A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2089467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9" y="1309688"/>
            <a:ext cx="10967199" cy="481330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144" y="27432"/>
            <a:ext cx="10972800" cy="457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3814518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9" y="1309688"/>
            <a:ext cx="10967199" cy="48133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500">
                <a:solidFill>
                  <a:schemeClr val="bg1"/>
                </a:solidFill>
              </a:defRPr>
            </a:lvl2pPr>
            <a:lvl3pPr>
              <a:defRPr sz="15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5457385" y="6609456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FFFFFF"/>
                </a:solidFill>
              </a:rPr>
              <a:t>Proprietary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2850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rtlCol="0">
            <a:no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293464"/>
            <a:ext cx="10972800" cy="7627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19" y="1309695"/>
            <a:ext cx="10972800" cy="4525963"/>
          </a:xfrm>
        </p:spPr>
        <p:txBody>
          <a:bodyPr/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 marL="170259" indent="0">
              <a:buFontTx/>
              <a:buNone/>
              <a:defRPr sz="1350">
                <a:solidFill>
                  <a:schemeClr val="bg1"/>
                </a:solidFill>
              </a:defRPr>
            </a:lvl2pPr>
            <a:lvl3pPr marL="340519" indent="0">
              <a:buFontTx/>
              <a:buNone/>
              <a:defRPr sz="1350">
                <a:solidFill>
                  <a:schemeClr val="bg1"/>
                </a:solidFill>
              </a:defRPr>
            </a:lvl3pPr>
            <a:lvl4pPr marL="516731" indent="0">
              <a:buFontTx/>
              <a:buNone/>
              <a:defRPr sz="1350">
                <a:solidFill>
                  <a:schemeClr val="bg1"/>
                </a:solidFill>
              </a:defRPr>
            </a:lvl4pPr>
            <a:lvl5pPr marL="686990" indent="0">
              <a:buFontTx/>
              <a:buNone/>
              <a:defRPr sz="1350">
                <a:solidFill>
                  <a:schemeClr val="bg1"/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457372" y="6596392"/>
            <a:ext cx="1277256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88">
                <a:solidFill>
                  <a:srgbClr val="000000"/>
                </a:solidFill>
              </a:rPr>
              <a:t>Proprietary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72077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596899" y="1798322"/>
            <a:ext cx="10973308" cy="4321493"/>
          </a:xfrm>
        </p:spPr>
        <p:txBody>
          <a:bodyPr rtlCol="0" anchor="ctr" anchorCtr="1">
            <a:no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>
          <a:xfrm>
            <a:off x="596902" y="1363406"/>
            <a:ext cx="10971953" cy="424757"/>
          </a:xfrm>
        </p:spPr>
        <p:txBody>
          <a:bodyPr/>
          <a:lstStyle>
            <a:lvl1pPr marL="0" indent="0">
              <a:buNone/>
              <a:defRPr sz="1200">
                <a:solidFill>
                  <a:srgbClr val="000000"/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hart title goes here (optional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54577206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689292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9" y="1309688"/>
            <a:ext cx="10967199" cy="48133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500">
                <a:solidFill>
                  <a:schemeClr val="bg1"/>
                </a:solidFill>
              </a:defRPr>
            </a:lvl2pPr>
            <a:lvl3pPr>
              <a:defRPr sz="15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30373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6135571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41035" y="2998791"/>
            <a:ext cx="7509933" cy="106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3247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oid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20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1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3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8422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oi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1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30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22942318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ctoid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6798733" y="1773936"/>
            <a:ext cx="4871579" cy="18288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lnSpc>
                <a:spcPct val="90000"/>
              </a:lnSpc>
              <a:buNone/>
              <a:defRPr lang="en-US" sz="9900" b="0" i="0" baseline="0" dirty="0" smtClean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Data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609601" y="1773936"/>
            <a:ext cx="4871579" cy="18288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90000"/>
              </a:lnSpc>
              <a:buNone/>
              <a:defRPr lang="en-US" sz="9900" dirty="0" smtClean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1" y="3576638"/>
            <a:ext cx="487157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24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6798733" y="3576638"/>
            <a:ext cx="487157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24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9544164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ex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07484" y="1143000"/>
            <a:ext cx="10972800" cy="4572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5400" b="0" baseline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8276541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ext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ctrTitle"/>
          </p:nvPr>
        </p:nvSpPr>
        <p:spPr>
          <a:xfrm>
            <a:off x="609600" y="1147064"/>
            <a:ext cx="10972800" cy="45638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5400" b="0" baseline="0" dirty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4732962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">
    <p:bg>
      <p:bgPr>
        <a:gradFill rotWithShape="1">
          <a:gsLst>
            <a:gs pos="0">
              <a:schemeClr val="accent1"/>
            </a:gs>
            <a:gs pos="100000">
              <a:schemeClr val="accent2"/>
            </a:gs>
          </a:gsLst>
          <a:lin ang="189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ctrTitle"/>
          </p:nvPr>
        </p:nvSpPr>
        <p:spPr>
          <a:xfrm>
            <a:off x="609600" y="1147064"/>
            <a:ext cx="10972800" cy="45638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5400" b="0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3309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ing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600" y="1143000"/>
            <a:ext cx="10972800" cy="4572000"/>
          </a:xfrm>
        </p:spPr>
        <p:txBody>
          <a:bodyPr anchor="ctr"/>
          <a:lstStyle>
            <a:lvl1pPr marL="0" indent="0">
              <a:buNone/>
              <a:defRPr sz="3300">
                <a:solidFill>
                  <a:schemeClr val="bg1"/>
                </a:solidFill>
              </a:defRPr>
            </a:lvl1pPr>
            <a:lvl2pPr marL="1191" indent="0">
              <a:buNone/>
              <a:defRPr sz="3300">
                <a:solidFill>
                  <a:schemeClr val="bg1"/>
                </a:solidFill>
              </a:defRPr>
            </a:lvl2pPr>
            <a:lvl3pPr>
              <a:defRPr sz="3300"/>
            </a:lvl3pPr>
            <a:lvl4pPr>
              <a:defRPr sz="3300"/>
            </a:lvl4pPr>
            <a:lvl5pPr>
              <a:defRPr sz="3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811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ing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600" y="1143000"/>
            <a:ext cx="10972800" cy="4572000"/>
          </a:xfrm>
        </p:spPr>
        <p:txBody>
          <a:bodyPr anchor="ctr"/>
          <a:lstStyle>
            <a:lvl1pPr marL="0" indent="0">
              <a:buNone/>
              <a:defRPr sz="3300">
                <a:solidFill>
                  <a:srgbClr val="000000"/>
                </a:solidFill>
              </a:defRPr>
            </a:lvl1pPr>
            <a:lvl2pPr marL="1191" indent="0">
              <a:buNone/>
              <a:defRPr sz="3300">
                <a:solidFill>
                  <a:srgbClr val="000000"/>
                </a:solidFill>
              </a:defRPr>
            </a:lvl2pPr>
            <a:lvl3pPr>
              <a:defRPr sz="3300"/>
            </a:lvl3pPr>
            <a:lvl4pPr>
              <a:defRPr sz="3300"/>
            </a:lvl4pPr>
            <a:lvl5pPr>
              <a:defRPr sz="3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8141141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rtlCol="0">
            <a:no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293464"/>
            <a:ext cx="10972800" cy="7627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19" y="1309695"/>
            <a:ext cx="10972800" cy="4525963"/>
          </a:xfrm>
        </p:spPr>
        <p:txBody>
          <a:bodyPr/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 marL="170259" indent="0">
              <a:buFontTx/>
              <a:buNone/>
              <a:defRPr sz="1350">
                <a:solidFill>
                  <a:schemeClr val="bg1"/>
                </a:solidFill>
              </a:defRPr>
            </a:lvl2pPr>
            <a:lvl3pPr marL="340519" indent="0">
              <a:buFontTx/>
              <a:buNone/>
              <a:defRPr sz="1350">
                <a:solidFill>
                  <a:schemeClr val="bg1"/>
                </a:solidFill>
              </a:defRPr>
            </a:lvl3pPr>
            <a:lvl4pPr marL="516731" indent="0">
              <a:buFontTx/>
              <a:buNone/>
              <a:defRPr sz="1350">
                <a:solidFill>
                  <a:schemeClr val="bg1"/>
                </a:solidFill>
              </a:defRPr>
            </a:lvl4pPr>
            <a:lvl5pPr marL="686990" indent="0">
              <a:buFontTx/>
              <a:buNone/>
              <a:defRPr sz="1350">
                <a:solidFill>
                  <a:schemeClr val="bg1"/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457372" y="6596392"/>
            <a:ext cx="1277256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88">
                <a:solidFill>
                  <a:srgbClr val="000000"/>
                </a:solidFill>
              </a:rPr>
              <a:t>Proprietary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27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9" y="1592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9" y="1592"/>
                        <a:ext cx="20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0574" y="1886400"/>
            <a:ext cx="11030857" cy="4445000"/>
          </a:xfrm>
        </p:spPr>
        <p:txBody>
          <a:bodyPr/>
          <a:lstStyle>
            <a:lvl1pPr marL="128588" indent="-128588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4615" indent="-214313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1775" indent="-214313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8935" indent="-214313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9237" indent="-214313">
              <a:defRPr lang="en-US" sz="1050" kern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37160" lvl="0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137160" lvl="1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  <a:p>
            <a:pPr marL="137160" lvl="2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7160" lvl="3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37160" lvl="4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0574" y="1400176"/>
            <a:ext cx="11030857" cy="2308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28588" indent="-128588">
              <a:buNone/>
              <a:defRPr lang="en-US" b="1" smtClean="0">
                <a:solidFill>
                  <a:schemeClr val="accent1"/>
                </a:solidFill>
                <a:sym typeface="+mn-lt"/>
              </a:defRPr>
            </a:lvl1pPr>
            <a:lvl2pPr marL="214313" indent="-214313">
              <a:buNone/>
              <a:defRPr lang="en-US" smtClean="0">
                <a:solidFill>
                  <a:schemeClr val="accent1"/>
                </a:solidFill>
                <a:sym typeface="+mn-lt"/>
              </a:defRPr>
            </a:lvl2pPr>
            <a:lvl3pPr marL="270459" indent="0">
              <a:buNone/>
              <a:defRPr lang="en-US" sz="750" smtClean="0">
                <a:solidFill>
                  <a:schemeClr val="accent2"/>
                </a:solidFill>
                <a:sym typeface="+mn-lt"/>
              </a:defRPr>
            </a:lvl3pPr>
            <a:lvl4pPr marL="405459" indent="0">
              <a:buNone/>
              <a:defRPr lang="en-US" sz="750" smtClean="0">
                <a:solidFill>
                  <a:schemeClr val="accent2"/>
                </a:solidFill>
                <a:sym typeface="+mn-lt"/>
              </a:defRPr>
            </a:lvl4pPr>
            <a:lvl5pPr marL="540000" indent="0">
              <a:buNone/>
              <a:defRPr lang="en-GB" sz="750">
                <a:solidFill>
                  <a:schemeClr val="accent2"/>
                </a:solidFill>
                <a:sym typeface="+mn-lt"/>
              </a:defRPr>
            </a:lvl5pPr>
          </a:lstStyle>
          <a:p>
            <a:pPr marL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/>
              <a:t>Heading 14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25943866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aphic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4"/>
          <p:cNvSpPr>
            <a:spLocks noGrp="1"/>
          </p:cNvSpPr>
          <p:nvPr>
            <p:ph sz="quarter" idx="13" hasCustomPrompt="1"/>
          </p:nvPr>
        </p:nvSpPr>
        <p:spPr bwMode="white">
          <a:xfrm>
            <a:off x="633984" y="4648201"/>
            <a:ext cx="6692704" cy="662599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ea typeface="+mn-ea"/>
                <a:cs typeface="+mn-cs"/>
              </a:defRPr>
            </a:lvl1pPr>
          </a:lstStyle>
          <a:p>
            <a:pPr>
              <a:lnSpc>
                <a:spcPct val="110000"/>
              </a:lnSpc>
            </a:pPr>
            <a:r>
              <a:rPr lang="en-US" sz="1200">
                <a:solidFill>
                  <a:srgbClr val="7F7F7F"/>
                </a:solidFill>
              </a:rPr>
              <a:t>Presenter name (optional)</a:t>
            </a:r>
          </a:p>
          <a:p>
            <a:r>
              <a:rPr lang="en-US" sz="1200">
                <a:solidFill>
                  <a:srgbClr val="7F7F7F"/>
                </a:solidFill>
              </a:rPr>
              <a:t>Title (optional)</a:t>
            </a:r>
          </a:p>
          <a:p>
            <a:r>
              <a:rPr lang="en-US" sz="1200">
                <a:solidFill>
                  <a:srgbClr val="7F7F7F"/>
                </a:solidFill>
              </a:rPr>
              <a:t>Location (optional)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2" hasCustomPrompt="1"/>
          </p:nvPr>
        </p:nvSpPr>
        <p:spPr bwMode="white">
          <a:xfrm>
            <a:off x="633984" y="409537"/>
            <a:ext cx="6692704" cy="314325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ea typeface="+mn-ea"/>
                <a:cs typeface="+mn-cs"/>
              </a:defRPr>
            </a:lvl1pPr>
          </a:lstStyle>
          <a:p>
            <a:r>
              <a:rPr 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Extra copy line separated by two spaces, no comma (optional)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1325080"/>
            <a:ext cx="12192000" cy="3081528"/>
          </a:xfrm>
          <a:prstGeom prst="rect">
            <a:avLst/>
          </a:prstGeom>
          <a:gradFill flip="none" rotWithShape="1">
            <a:gsLst>
              <a:gs pos="30000">
                <a:schemeClr val="accent1"/>
              </a:gs>
              <a:gs pos="100000">
                <a:schemeClr val="accent2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9" name="Picture 8" descr="EM_pattern_PowerPoint_White.png"/>
          <p:cNvPicPr>
            <a:picLocks noChangeAspect="1"/>
          </p:cNvPicPr>
          <p:nvPr userDrawn="1"/>
        </p:nvPicPr>
        <p:blipFill>
          <a:blip r:embed="rId2">
            <a:alphaModFix amt="6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5080"/>
            <a:ext cx="12192000" cy="3084576"/>
          </a:xfrm>
          <a:prstGeom prst="rect">
            <a:avLst/>
          </a:prstGeom>
        </p:spPr>
      </p:pic>
      <p:sp>
        <p:nvSpPr>
          <p:cNvPr id="12" name="Content Placeholder 4"/>
          <p:cNvSpPr>
            <a:spLocks noGrp="1"/>
          </p:cNvSpPr>
          <p:nvPr>
            <p:ph sz="quarter" idx="11" hasCustomPrompt="1"/>
          </p:nvPr>
        </p:nvSpPr>
        <p:spPr bwMode="white">
          <a:xfrm>
            <a:off x="633984" y="1576846"/>
            <a:ext cx="6705600" cy="314325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/>
              <a:t>Month Date, Year or sub-headline</a:t>
            </a:r>
          </a:p>
        </p:txBody>
      </p:sp>
      <p:pic>
        <p:nvPicPr>
          <p:cNvPr id="15" name="Picture 14" descr="exmo_red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white">
          <a:xfrm>
            <a:off x="8613987" y="432873"/>
            <a:ext cx="2999232" cy="450858"/>
          </a:xfrm>
          <a:prstGeom prst="rect">
            <a:avLst/>
          </a:prstGeom>
        </p:spPr>
      </p:pic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9836993" y="6267450"/>
            <a:ext cx="1749640" cy="22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defRPr lang="en-US" sz="800">
                <a:latin typeface="+mn-lt"/>
                <a:ea typeface="Arial"/>
                <a:cs typeface="Arial" charset="0"/>
              </a:defRPr>
            </a:lvl1pPr>
          </a:lstStyle>
          <a:p>
            <a:pPr algn="r"/>
            <a:r>
              <a:rPr lang="en-US"/>
              <a:t>Proprietary</a:t>
            </a:r>
          </a:p>
        </p:txBody>
      </p:sp>
      <p:pic>
        <p:nvPicPr>
          <p:cNvPr id="13" name="Picture 12" descr="exmo_elh_tm_w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896" y="3875313"/>
            <a:ext cx="2389632" cy="324454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 bwMode="white">
          <a:xfrm>
            <a:off x="633984" y="1900826"/>
            <a:ext cx="10942067" cy="228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54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50917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7" y="1309688"/>
            <a:ext cx="10967199" cy="481330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r"/>
            <a:r>
              <a:rPr lang="en-US"/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05546398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7" y="1309688"/>
            <a:ext cx="10967199" cy="48133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2152219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rtlCol="0"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293462"/>
            <a:ext cx="10972800" cy="7627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19" y="1309693"/>
            <a:ext cx="10972800" cy="4525963"/>
          </a:xfrm>
        </p:spPr>
        <p:txBody>
          <a:bodyPr/>
          <a:lstStyle>
            <a:lvl1pPr marL="0" indent="0">
              <a:buFontTx/>
              <a:buNone/>
              <a:defRPr sz="2000" b="0">
                <a:solidFill>
                  <a:schemeClr val="bg1"/>
                </a:solidFill>
              </a:defRPr>
            </a:lvl1pPr>
            <a:lvl2pPr marL="227012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454025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688975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915987" indent="0">
              <a:buFontTx/>
              <a:buNone/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3641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596899" y="1798320"/>
            <a:ext cx="10973308" cy="4321493"/>
          </a:xfrm>
        </p:spPr>
        <p:txBody>
          <a:bodyPr rtlCol="0" anchor="ctr" anchorCtr="1">
            <a:noAutofit/>
          </a:bodyPr>
          <a:lstStyle>
            <a:lvl1pPr marL="0" indent="0">
              <a:buNone/>
              <a:defRPr sz="12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>
          <a:xfrm>
            <a:off x="596901" y="1363404"/>
            <a:ext cx="10971953" cy="424757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hart title goes here (optional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/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8363807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/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44509136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/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2076039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41034" y="2998789"/>
            <a:ext cx="7509933" cy="106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5147099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oid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60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0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4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80694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9" y="1309688"/>
            <a:ext cx="10967199" cy="48133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500">
                <a:solidFill>
                  <a:schemeClr val="bg1"/>
                </a:solidFill>
              </a:defRPr>
            </a:lvl2pPr>
            <a:lvl3pPr>
              <a:defRPr sz="15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2681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oi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6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0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40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r"/>
            <a:r>
              <a:rPr lang="en-US"/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402811482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ctoid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6798733" y="1773936"/>
            <a:ext cx="4871579" cy="18288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lnSpc>
                <a:spcPct val="90000"/>
              </a:lnSpc>
              <a:buNone/>
              <a:defRPr lang="en-US" sz="13200" b="0" i="0" baseline="0" dirty="0" smtClean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Data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609600" y="1773936"/>
            <a:ext cx="4871579" cy="18288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90000"/>
              </a:lnSpc>
              <a:buNone/>
              <a:defRPr lang="en-US" sz="13200" dirty="0" smtClean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0" y="3576638"/>
            <a:ext cx="487157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32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6798733" y="3576638"/>
            <a:ext cx="487157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32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r"/>
            <a:r>
              <a:rPr lang="en-US"/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54767652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ex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07484" y="1143000"/>
            <a:ext cx="10972800" cy="4572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7200" b="0" baseline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/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9535635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ext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ctrTitle"/>
          </p:nvPr>
        </p:nvSpPr>
        <p:spPr>
          <a:xfrm>
            <a:off x="609600" y="1147064"/>
            <a:ext cx="10972800" cy="45638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7200" b="0" baseline="0" dirty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/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68371631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">
    <p:bg>
      <p:bgPr>
        <a:gradFill rotWithShape="1">
          <a:gsLst>
            <a:gs pos="0">
              <a:schemeClr val="accent1"/>
            </a:gs>
            <a:gs pos="100000">
              <a:schemeClr val="accent2"/>
            </a:gs>
          </a:gsLst>
          <a:lin ang="189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ctrTitle"/>
          </p:nvPr>
        </p:nvSpPr>
        <p:spPr>
          <a:xfrm>
            <a:off x="609600" y="1147064"/>
            <a:ext cx="10972800" cy="45638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7200" b="0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34080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ing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600" y="1143000"/>
            <a:ext cx="10972800" cy="4572000"/>
          </a:xfrm>
        </p:spPr>
        <p:txBody>
          <a:bodyPr anchor="ctr"/>
          <a:lstStyle>
            <a:lvl1pPr marL="0" indent="0">
              <a:buNone/>
              <a:defRPr sz="4400">
                <a:solidFill>
                  <a:schemeClr val="bg1"/>
                </a:solidFill>
              </a:defRPr>
            </a:lvl1pPr>
            <a:lvl2pPr marL="1588" indent="0">
              <a:buNone/>
              <a:defRPr sz="4400">
                <a:solidFill>
                  <a:schemeClr val="bg1"/>
                </a:solidFill>
              </a:defRPr>
            </a:lvl2pPr>
            <a:lvl3pPr>
              <a:defRPr sz="4400"/>
            </a:lvl3pPr>
            <a:lvl4pPr>
              <a:defRPr sz="4400"/>
            </a:lvl4pPr>
            <a:lvl5pPr>
              <a:defRPr sz="4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741271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ing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600" y="1143000"/>
            <a:ext cx="10972800" cy="4572000"/>
          </a:xfrm>
        </p:spPr>
        <p:txBody>
          <a:bodyPr anchor="ctr"/>
          <a:lstStyle>
            <a:lvl1pPr marL="0" indent="0">
              <a:buNone/>
              <a:defRPr sz="4400">
                <a:solidFill>
                  <a:srgbClr val="000000"/>
                </a:solidFill>
              </a:defRPr>
            </a:lvl1pPr>
            <a:lvl2pPr marL="1588" indent="0">
              <a:buNone/>
              <a:defRPr sz="4400">
                <a:solidFill>
                  <a:srgbClr val="000000"/>
                </a:solidFill>
              </a:defRPr>
            </a:lvl2pPr>
            <a:lvl3pPr>
              <a:defRPr sz="4400"/>
            </a:lvl3pPr>
            <a:lvl4pPr>
              <a:defRPr sz="4400"/>
            </a:lvl4pPr>
            <a:lvl5pPr>
              <a:defRPr sz="4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r"/>
            <a:r>
              <a:rPr lang="en-US"/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5750472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aphic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325080"/>
            <a:ext cx="12192000" cy="3081528"/>
          </a:xfrm>
          <a:prstGeom prst="rect">
            <a:avLst/>
          </a:prstGeom>
          <a:gradFill flip="none" rotWithShape="1">
            <a:gsLst>
              <a:gs pos="30000">
                <a:schemeClr val="accent1"/>
              </a:gs>
              <a:gs pos="100000">
                <a:schemeClr val="accent2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srgbClr val="000000"/>
              </a:solidFill>
            </a:endParaRPr>
          </a:p>
        </p:txBody>
      </p:sp>
      <p:pic>
        <p:nvPicPr>
          <p:cNvPr id="9" name="Picture 8" descr="EM_pattern_PowerPoint_White.png"/>
          <p:cNvPicPr>
            <a:picLocks noChangeAspect="1"/>
          </p:cNvPicPr>
          <p:nvPr userDrawn="1"/>
        </p:nvPicPr>
        <p:blipFill>
          <a:blip r:embed="rId2">
            <a:alphaModFix amt="6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5080"/>
            <a:ext cx="12192000" cy="308457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 bwMode="white">
          <a:xfrm>
            <a:off x="633985" y="1900826"/>
            <a:ext cx="10942067" cy="18288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405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 bwMode="white">
          <a:xfrm>
            <a:off x="633984" y="1576846"/>
            <a:ext cx="4876800" cy="314325"/>
          </a:xfrm>
        </p:spPr>
        <p:txBody>
          <a:bodyPr/>
          <a:lstStyle>
            <a:lvl1pPr marL="0" indent="0">
              <a:buNone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 descr="exmo_elh_tm_w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896" y="3981643"/>
            <a:ext cx="2389632" cy="324454"/>
          </a:xfrm>
          <a:prstGeom prst="rect">
            <a:avLst/>
          </a:prstGeom>
        </p:spPr>
      </p:pic>
      <p:pic>
        <p:nvPicPr>
          <p:cNvPr id="15" name="Picture 14" descr="exmo_red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white">
          <a:xfrm>
            <a:off x="8613987" y="432873"/>
            <a:ext cx="2999232" cy="45085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0914887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5A5A5A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02095182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9" y="1309688"/>
            <a:ext cx="10967199" cy="481330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144" y="27432"/>
            <a:ext cx="10972800" cy="457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15120649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5369" y="1309688"/>
            <a:ext cx="10967199" cy="48133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500">
                <a:solidFill>
                  <a:schemeClr val="bg1"/>
                </a:solidFill>
              </a:defRPr>
            </a:lvl2pPr>
            <a:lvl3pPr>
              <a:defRPr sz="15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5457385" y="6609456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FFFFFF"/>
                </a:solidFill>
              </a:rPr>
              <a:t>Proprietary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9676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rtlCol="0">
            <a:no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293464"/>
            <a:ext cx="10972800" cy="7627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19" y="1309695"/>
            <a:ext cx="10972800" cy="4525963"/>
          </a:xfrm>
        </p:spPr>
        <p:txBody>
          <a:bodyPr/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 marL="170259" indent="0">
              <a:buFontTx/>
              <a:buNone/>
              <a:defRPr sz="1350">
                <a:solidFill>
                  <a:schemeClr val="bg1"/>
                </a:solidFill>
              </a:defRPr>
            </a:lvl2pPr>
            <a:lvl3pPr marL="340519" indent="0">
              <a:buFontTx/>
              <a:buNone/>
              <a:defRPr sz="1350">
                <a:solidFill>
                  <a:schemeClr val="bg1"/>
                </a:solidFill>
              </a:defRPr>
            </a:lvl3pPr>
            <a:lvl4pPr marL="516731" indent="0">
              <a:buFontTx/>
              <a:buNone/>
              <a:defRPr sz="1350">
                <a:solidFill>
                  <a:schemeClr val="bg1"/>
                </a:solidFill>
              </a:defRPr>
            </a:lvl4pPr>
            <a:lvl5pPr marL="686990" indent="0">
              <a:buFontTx/>
              <a:buNone/>
              <a:defRPr sz="1350">
                <a:solidFill>
                  <a:schemeClr val="bg1"/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457372" y="6596392"/>
            <a:ext cx="1277256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88">
                <a:solidFill>
                  <a:srgbClr val="000000"/>
                </a:solidFill>
              </a:rPr>
              <a:t>Proprietary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86012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rtlCol="0">
            <a:no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293464"/>
            <a:ext cx="10972800" cy="7627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19" y="1309695"/>
            <a:ext cx="10972800" cy="4525963"/>
          </a:xfrm>
        </p:spPr>
        <p:txBody>
          <a:bodyPr/>
          <a:lstStyle>
            <a:lvl1pPr marL="0" indent="0">
              <a:buFontTx/>
              <a:buNone/>
              <a:defRPr sz="1500" b="0">
                <a:solidFill>
                  <a:schemeClr val="bg1"/>
                </a:solidFill>
              </a:defRPr>
            </a:lvl1pPr>
            <a:lvl2pPr marL="170259" indent="0">
              <a:buFontTx/>
              <a:buNone/>
              <a:defRPr sz="1350">
                <a:solidFill>
                  <a:schemeClr val="bg1"/>
                </a:solidFill>
              </a:defRPr>
            </a:lvl2pPr>
            <a:lvl3pPr marL="340519" indent="0">
              <a:buFontTx/>
              <a:buNone/>
              <a:defRPr sz="1350">
                <a:solidFill>
                  <a:schemeClr val="bg1"/>
                </a:solidFill>
              </a:defRPr>
            </a:lvl3pPr>
            <a:lvl4pPr marL="516731" indent="0">
              <a:buFontTx/>
              <a:buNone/>
              <a:defRPr sz="1350">
                <a:solidFill>
                  <a:schemeClr val="bg1"/>
                </a:solidFill>
              </a:defRPr>
            </a:lvl4pPr>
            <a:lvl5pPr marL="686990" indent="0">
              <a:buFontTx/>
              <a:buNone/>
              <a:defRPr sz="1350">
                <a:solidFill>
                  <a:schemeClr val="bg1"/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457372" y="6596392"/>
            <a:ext cx="1277256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88">
                <a:solidFill>
                  <a:srgbClr val="000000"/>
                </a:solidFill>
              </a:rPr>
              <a:t>Proprietary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04921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596899" y="1798322"/>
            <a:ext cx="10973308" cy="4321493"/>
          </a:xfrm>
        </p:spPr>
        <p:txBody>
          <a:bodyPr rtlCol="0" anchor="ctr" anchorCtr="1">
            <a:no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>
          <a:xfrm>
            <a:off x="596902" y="1363406"/>
            <a:ext cx="10971953" cy="424757"/>
          </a:xfrm>
        </p:spPr>
        <p:txBody>
          <a:bodyPr/>
          <a:lstStyle>
            <a:lvl1pPr marL="0" indent="0">
              <a:buNone/>
              <a:defRPr sz="1200">
                <a:solidFill>
                  <a:srgbClr val="000000"/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hart title goes here (optional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419745127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09896025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711039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41035" y="2998791"/>
            <a:ext cx="7509933" cy="106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86569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toid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20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1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3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17464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oi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12776" y="1719072"/>
            <a:ext cx="10973453" cy="21904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1" y="3895344"/>
            <a:ext cx="1096548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30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3903469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ctoid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6798733" y="1773936"/>
            <a:ext cx="4871579" cy="18288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lnSpc>
                <a:spcPct val="90000"/>
              </a:lnSpc>
              <a:buNone/>
              <a:defRPr lang="en-US" sz="9900" b="0" i="0" baseline="0" dirty="0" smtClean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Data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609601" y="1773936"/>
            <a:ext cx="4871579" cy="18288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90000"/>
              </a:lnSpc>
              <a:buNone/>
              <a:defRPr lang="en-US" sz="9900" dirty="0" smtClean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Data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609601" y="3576638"/>
            <a:ext cx="487157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24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6798733" y="3576638"/>
            <a:ext cx="4871579" cy="18288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24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401690411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ex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07484" y="1143000"/>
            <a:ext cx="10972800" cy="4572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5400" b="0" baseline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7423885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ext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ctrTitle"/>
          </p:nvPr>
        </p:nvSpPr>
        <p:spPr>
          <a:xfrm>
            <a:off x="609600" y="1147064"/>
            <a:ext cx="10972800" cy="45638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5400" b="0" baseline="0" dirty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3547160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596899" y="1798322"/>
            <a:ext cx="10973308" cy="4321493"/>
          </a:xfrm>
        </p:spPr>
        <p:txBody>
          <a:bodyPr rtlCol="0" anchor="ctr" anchorCtr="1">
            <a:no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>
          <a:xfrm>
            <a:off x="596902" y="1363406"/>
            <a:ext cx="10971953" cy="424757"/>
          </a:xfrm>
        </p:spPr>
        <p:txBody>
          <a:bodyPr/>
          <a:lstStyle>
            <a:lvl1pPr marL="0" indent="0">
              <a:buNone/>
              <a:defRPr sz="1200">
                <a:solidFill>
                  <a:srgbClr val="000000"/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hart title goes here (optional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37917381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">
    <p:bg>
      <p:bgPr>
        <a:gradFill rotWithShape="1">
          <a:gsLst>
            <a:gs pos="0">
              <a:schemeClr val="accent1"/>
            </a:gs>
            <a:gs pos="100000">
              <a:schemeClr val="accent2"/>
            </a:gs>
          </a:gsLst>
          <a:lin ang="189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ctrTitle"/>
          </p:nvPr>
        </p:nvSpPr>
        <p:spPr>
          <a:xfrm>
            <a:off x="609600" y="1147064"/>
            <a:ext cx="10972800" cy="45638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5400" b="0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62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ing Blu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600" y="1143000"/>
            <a:ext cx="10972800" cy="4572000"/>
          </a:xfrm>
        </p:spPr>
        <p:txBody>
          <a:bodyPr anchor="ctr"/>
          <a:lstStyle>
            <a:lvl1pPr marL="0" indent="0">
              <a:buNone/>
              <a:defRPr sz="3300">
                <a:solidFill>
                  <a:schemeClr val="bg1"/>
                </a:solidFill>
              </a:defRPr>
            </a:lvl1pPr>
            <a:lvl2pPr marL="1191" indent="0">
              <a:buNone/>
              <a:defRPr sz="3300">
                <a:solidFill>
                  <a:schemeClr val="bg1"/>
                </a:solidFill>
              </a:defRPr>
            </a:lvl2pPr>
            <a:lvl3pPr>
              <a:defRPr sz="3300"/>
            </a:lvl3pPr>
            <a:lvl4pPr>
              <a:defRPr sz="3300"/>
            </a:lvl4pPr>
            <a:lvl5pPr>
              <a:defRPr sz="3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4017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ing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09600" y="1143000"/>
            <a:ext cx="10972800" cy="4572000"/>
          </a:xfrm>
        </p:spPr>
        <p:txBody>
          <a:bodyPr anchor="ctr"/>
          <a:lstStyle>
            <a:lvl1pPr marL="0" indent="0">
              <a:buNone/>
              <a:defRPr sz="3300">
                <a:solidFill>
                  <a:srgbClr val="000000"/>
                </a:solidFill>
              </a:defRPr>
            </a:lvl1pPr>
            <a:lvl2pPr marL="1191" indent="0">
              <a:buNone/>
              <a:defRPr sz="3300">
                <a:solidFill>
                  <a:srgbClr val="000000"/>
                </a:solidFill>
              </a:defRPr>
            </a:lvl2pPr>
            <a:lvl3pPr>
              <a:defRPr sz="3300"/>
            </a:lvl3pPr>
            <a:lvl4pPr>
              <a:defRPr sz="3300"/>
            </a:lvl4pPr>
            <a:lvl5pPr>
              <a:defRPr sz="3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16588640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9" y="1592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9" y="1592"/>
                        <a:ext cx="20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0574" y="1886400"/>
            <a:ext cx="11030857" cy="4445000"/>
          </a:xfrm>
        </p:spPr>
        <p:txBody>
          <a:bodyPr/>
          <a:lstStyle>
            <a:lvl1pPr marL="128588" indent="-128588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4615" indent="-214313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1775" indent="-214313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8935" indent="-214313">
              <a:defRPr lang="en-US" sz="105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9237" indent="-214313">
              <a:defRPr lang="en-US" sz="1050" kern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37160" lvl="0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137160" lvl="1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  <a:p>
            <a:pPr marL="137160" lvl="2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137160" lvl="3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137160" lvl="4" indent="-137160" algn="l" defTabSz="685800" rtl="0" eaLnBrk="1" latinLnBrk="0" hangingPunct="1">
              <a:spcBef>
                <a:spcPts val="525"/>
              </a:spcBef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0574" y="1400176"/>
            <a:ext cx="11030857" cy="2308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28588" indent="-128588">
              <a:buNone/>
              <a:defRPr lang="en-US" b="1" smtClean="0">
                <a:solidFill>
                  <a:schemeClr val="accent1"/>
                </a:solidFill>
                <a:sym typeface="+mn-lt"/>
              </a:defRPr>
            </a:lvl1pPr>
            <a:lvl2pPr marL="214313" indent="-214313">
              <a:buNone/>
              <a:defRPr lang="en-US" smtClean="0">
                <a:solidFill>
                  <a:schemeClr val="accent1"/>
                </a:solidFill>
                <a:sym typeface="+mn-lt"/>
              </a:defRPr>
            </a:lvl2pPr>
            <a:lvl3pPr marL="270459" indent="0">
              <a:buNone/>
              <a:defRPr lang="en-US" sz="750" smtClean="0">
                <a:solidFill>
                  <a:schemeClr val="accent2"/>
                </a:solidFill>
                <a:sym typeface="+mn-lt"/>
              </a:defRPr>
            </a:lvl3pPr>
            <a:lvl4pPr marL="405459" indent="0">
              <a:buNone/>
              <a:defRPr lang="en-US" sz="750" smtClean="0">
                <a:solidFill>
                  <a:schemeClr val="accent2"/>
                </a:solidFill>
                <a:sym typeface="+mn-lt"/>
              </a:defRPr>
            </a:lvl4pPr>
            <a:lvl5pPr marL="540000" indent="0">
              <a:buNone/>
              <a:defRPr lang="en-GB" sz="750">
                <a:solidFill>
                  <a:schemeClr val="accent2"/>
                </a:solidFill>
                <a:sym typeface="+mn-lt"/>
              </a:defRPr>
            </a:lvl5pPr>
          </a:lstStyle>
          <a:p>
            <a:pPr marL="0" lv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</a:pPr>
            <a:r>
              <a:rPr lang="en-US"/>
              <a:t>Heading 14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44135713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B84653-0C55-D30B-E948-9B047FDABC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8792B6C-6934-1A0D-5BE3-0D9F7E3F4E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3716A2-5557-C682-6FB7-8E7F31810F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7787B-60A9-4367-AF56-CF92354B6159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5F4B88-77B7-4D75-9138-C147106BF7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32CB76-1BAF-A1F8-7B2D-34C0AA9E3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23899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E892A6-27A4-9DAD-EFB4-FE30B5BFB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F1451A-65DA-2949-1D5F-FE9A296132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F58093-1FBF-E671-B052-E0DBEF3A69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7787B-60A9-4367-AF56-CF92354B6159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5CFCCB-135F-8A51-A4CC-7C8F289FD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5A9F3B-2305-58F2-6B7E-A4E24A8FB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66370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83B01-1BE2-E71A-A1BF-9BE2A10EB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BB71F3-C404-FF60-E377-D4DBF59636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A51A13-951D-2126-D3FA-12B1500009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7787B-60A9-4367-AF56-CF92354B6159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5D7AAF-F603-19CE-6B11-71430FDB78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E64745-1A7F-04F0-37F4-E92BA4B1B1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04924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9F6D79-2BE3-8404-671C-7EDB29E35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075C07-0B74-1FB7-108F-47BFBFFCD9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00A794B-773C-7DD5-F982-1DF07B5F7E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910EF5-3EA6-096E-3F87-9D794A3B6F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7787B-60A9-4367-AF56-CF92354B6159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04E744-8C45-7F08-1AED-718E59DE62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8F1A64-168C-361B-A2B2-4AA846FE1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601239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016677-22AE-1FB1-33A1-B3968B4274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96BCE2-F23C-3CC9-6D38-75BD63E14A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0262DF-B7D6-FB52-2D90-C224C2F874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DC31A7-9FC4-8D9B-F9A4-708BC96DE35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F9EA19A-BFD9-1122-ABCC-8FA589D90C0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EBC42FF-7A24-F332-03F0-3C336D05AE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7787B-60A9-4367-AF56-CF92354B6159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A29DA24-DFC9-B3D5-CC6F-AA305626AC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F79D8F6-EAE8-0ACF-B641-97AF8E1237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26108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835FE4-0F74-D3D8-4984-FE9A182436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6C882E-D99D-C0EA-F5ED-7CC4AF492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7787B-60A9-4367-AF56-CF92354B6159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C602CD4-33F6-E301-FBE0-2BB51508E4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9B6B9F-B3CB-89F2-A2EE-79976EB9F6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7953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12654383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F190501-E4C7-A8B8-ACFC-603FDFD2A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7787B-60A9-4367-AF56-CF92354B6159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7E6293-D640-DB3A-C34D-3DEF248BD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7343B-33E1-9C13-2718-8FDE355AA9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379550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CD9739-8483-A601-E5C9-DB23B5D51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46370B-3A6D-7B46-132A-90C14E64C9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A494B3-8709-8EDF-21BD-A52287D5A54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E57E9D-47F2-FAD2-DD25-B693D2A5E7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7787B-60A9-4367-AF56-CF92354B6159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58603B-AC31-6BB0-8328-CBD749219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847AB0-948E-B86E-1EA4-C134BEC0C5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633742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D0A008-7240-F643-5201-77F739767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2C7814-40B4-1E08-00B3-48081D786D2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2CDC7B9-0EBA-FCF9-00B5-4049DB5C3A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A87642-3300-F727-B638-4684118CA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7787B-60A9-4367-AF56-CF92354B6159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C6FEF2-145C-C0A3-E0CE-B288B57DFB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CE5CD41-B42F-9429-5D30-054D8C908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8915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91E38A-5241-73E6-C32A-4E1CA979B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C503CA8-A261-552B-3E30-2F42D044B9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BA8155-E7DE-F1F6-C7A2-F4F2451BA9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7787B-60A9-4367-AF56-CF92354B6159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443425-BB8F-654A-FF82-057580E7A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215343-6451-849E-2C7B-5632E8AC48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88365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B4FFA6B-B08D-3235-193E-9AD48514F1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D806693-44A1-394D-65B8-F5E713997DD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0FB35C-F272-466D-3DC3-66389A45F9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7787B-60A9-4367-AF56-CF92354B6159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7BD95B-49B7-0CB5-FF15-D436FE3AE4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37C09B-F858-0170-3313-3336533A7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69668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28574857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93688"/>
            <a:ext cx="109728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312863"/>
            <a:ext cx="10972800" cy="4805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6"/>
          <p:cNvSpPr>
            <a:spLocks noChangeArrowheads="1"/>
          </p:cNvSpPr>
          <p:nvPr/>
        </p:nvSpPr>
        <p:spPr bwMode="auto">
          <a:xfrm>
            <a:off x="11575077" y="6586493"/>
            <a:ext cx="389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 defTabSz="342900" fontAlgn="base">
              <a:spcBef>
                <a:spcPct val="0"/>
              </a:spcBef>
              <a:spcAft>
                <a:spcPct val="0"/>
              </a:spcAft>
            </a:pPr>
            <a:fld id="{61EB682E-F9F7-A84A-866D-693BB3909AC4}" type="slidenum">
              <a:rPr lang="en-US" sz="600">
                <a:solidFill>
                  <a:srgbClr val="000000"/>
                </a:solidFill>
                <a:ea typeface="Arial"/>
                <a:cs typeface="Arial" charset="0"/>
              </a:rPr>
              <a:pPr algn="r" defTabSz="3429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00">
              <a:solidFill>
                <a:srgbClr val="000000"/>
              </a:solidFill>
              <a:ea typeface="Arial"/>
              <a:cs typeface="Arial" charset="0"/>
            </a:endParaRPr>
          </a:p>
        </p:txBody>
      </p:sp>
      <p:pic>
        <p:nvPicPr>
          <p:cNvPr id="7" name="Picture 10" descr="exmo_r.bmp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302" y="6594321"/>
            <a:ext cx="1367367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852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3" r:id="rId22"/>
    <p:sldLayoutId id="2147483684" r:id="rId23"/>
  </p:sldLayoutIdLst>
  <p:txStyles>
    <p:titleStyle>
      <a:lvl1pPr algn="l" defTabSz="3429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Arial"/>
          <a:ea typeface="Arial"/>
          <a:cs typeface="Arial"/>
        </a:defRPr>
      </a:lvl1pPr>
      <a:lvl2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2pPr>
      <a:lvl3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3pPr>
      <a:lvl4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4pPr>
      <a:lvl5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5pPr>
      <a:lvl6pPr marL="3429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6pPr>
      <a:lvl7pPr marL="6858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7pPr>
      <a:lvl8pPr marL="10287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8pPr>
      <a:lvl9pPr marL="13716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170260" indent="-170260" algn="l" defTabSz="3429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500" kern="1200">
          <a:solidFill>
            <a:srgbClr val="000000"/>
          </a:solidFill>
          <a:latin typeface="+mn-lt"/>
          <a:ea typeface="Arial"/>
          <a:cs typeface="Arial"/>
        </a:defRPr>
      </a:lvl1pPr>
      <a:lvl2pPr marL="340519" indent="-170260" algn="l" defTabSz="342900" rtl="0" eaLnBrk="1" fontAlgn="base" hangingPunct="1">
        <a:spcBef>
          <a:spcPts val="45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2pPr>
      <a:lvl3pPr marL="516731" indent="-176213" algn="l" defTabSz="3429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3pPr>
      <a:lvl4pPr marL="686991" indent="-170260" algn="l" defTabSz="427435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4pPr>
      <a:lvl5pPr marL="857250" indent="-170260" algn="l" defTabSz="3429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93688"/>
            <a:ext cx="109728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312863"/>
            <a:ext cx="10972800" cy="4805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6"/>
          <p:cNvSpPr>
            <a:spLocks noChangeArrowheads="1"/>
          </p:cNvSpPr>
          <p:nvPr/>
        </p:nvSpPr>
        <p:spPr bwMode="auto">
          <a:xfrm>
            <a:off x="11575077" y="6586493"/>
            <a:ext cx="389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 defTabSz="342900" fontAlgn="base">
              <a:spcBef>
                <a:spcPct val="0"/>
              </a:spcBef>
              <a:spcAft>
                <a:spcPct val="0"/>
              </a:spcAft>
            </a:pPr>
            <a:fld id="{61EB682E-F9F7-A84A-866D-693BB3909AC4}" type="slidenum">
              <a:rPr lang="en-US" sz="600">
                <a:solidFill>
                  <a:srgbClr val="000000"/>
                </a:solidFill>
                <a:ea typeface="Arial"/>
                <a:cs typeface="Arial" charset="0"/>
              </a:rPr>
              <a:pPr algn="r" defTabSz="3429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00">
              <a:solidFill>
                <a:srgbClr val="000000"/>
              </a:solidFill>
              <a:ea typeface="Arial"/>
              <a:cs typeface="Arial" charset="0"/>
            </a:endParaRPr>
          </a:p>
        </p:txBody>
      </p:sp>
      <p:pic>
        <p:nvPicPr>
          <p:cNvPr id="7" name="Picture 10" descr="exmo_r.bmp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302" y="6594321"/>
            <a:ext cx="1367367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774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</p:sldLayoutIdLst>
  <p:txStyles>
    <p:titleStyle>
      <a:lvl1pPr algn="l" defTabSz="3429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Arial"/>
          <a:ea typeface="Arial"/>
          <a:cs typeface="Arial"/>
        </a:defRPr>
      </a:lvl1pPr>
      <a:lvl2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2pPr>
      <a:lvl3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3pPr>
      <a:lvl4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4pPr>
      <a:lvl5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5pPr>
      <a:lvl6pPr marL="3429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6pPr>
      <a:lvl7pPr marL="6858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7pPr>
      <a:lvl8pPr marL="10287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8pPr>
      <a:lvl9pPr marL="13716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170260" indent="-170260" algn="l" defTabSz="3429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500" kern="1200">
          <a:solidFill>
            <a:srgbClr val="000000"/>
          </a:solidFill>
          <a:latin typeface="+mn-lt"/>
          <a:ea typeface="Arial"/>
          <a:cs typeface="Arial"/>
        </a:defRPr>
      </a:lvl1pPr>
      <a:lvl2pPr marL="340519" indent="-170260" algn="l" defTabSz="342900" rtl="0" eaLnBrk="1" fontAlgn="base" hangingPunct="1">
        <a:spcBef>
          <a:spcPts val="45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2pPr>
      <a:lvl3pPr marL="516731" indent="-176213" algn="l" defTabSz="3429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3pPr>
      <a:lvl4pPr marL="686991" indent="-170260" algn="l" defTabSz="427435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4pPr>
      <a:lvl5pPr marL="857250" indent="-170260" algn="l" defTabSz="3429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93688"/>
            <a:ext cx="109728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312863"/>
            <a:ext cx="10972800" cy="4805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10" descr="exmo_r.bmp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301" y="6419110"/>
            <a:ext cx="1367367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0977285" y="6462315"/>
            <a:ext cx="605116" cy="227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>
              <a:defRPr lang="en-US" sz="800" smtClean="0">
                <a:latin typeface="+mn-lt"/>
                <a:ea typeface="Arial"/>
                <a:cs typeface="Arial" charset="0"/>
              </a:defRPr>
            </a:lvl1pPr>
          </a:lstStyle>
          <a:p>
            <a:pPr algn="r"/>
            <a:fld id="{6A1832FB-D067-F14F-8F63-A059BBF7F3FB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7092871" y="6461595"/>
            <a:ext cx="3860800" cy="22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>
              <a:defRPr lang="en-US" sz="800">
                <a:latin typeface="+mn-lt"/>
                <a:ea typeface="Arial"/>
                <a:cs typeface="Arial" charset="0"/>
              </a:defRPr>
            </a:lvl1pPr>
          </a:lstStyle>
          <a:p>
            <a:pPr algn="r"/>
            <a:r>
              <a:rPr lang="en-US"/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673035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  <p:sldLayoutId id="2147483721" r:id="rId15"/>
    <p:sldLayoutId id="2147483722" r:id="rId16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tx2"/>
          </a:solidFill>
          <a:latin typeface="Arial"/>
          <a:ea typeface="Arial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227013" indent="-227013" algn="l" defTabSz="4572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2000" kern="1200">
          <a:solidFill>
            <a:srgbClr val="000000"/>
          </a:solidFill>
          <a:latin typeface="+mn-lt"/>
          <a:ea typeface="Arial"/>
          <a:cs typeface="Arial"/>
        </a:defRPr>
      </a:lvl1pPr>
      <a:lvl2pPr marL="454025" indent="-227013" algn="l" defTabSz="457200" rtl="0" eaLnBrk="1" fontAlgn="base" hangingPunct="1">
        <a:spcBef>
          <a:spcPts val="600"/>
        </a:spcBef>
        <a:spcAft>
          <a:spcPct val="0"/>
        </a:spcAft>
        <a:buFont typeface="Arial" charset="0"/>
        <a:buChar char="•"/>
        <a:defRPr sz="1800" kern="1200">
          <a:solidFill>
            <a:srgbClr val="000000"/>
          </a:solidFill>
          <a:latin typeface="+mn-lt"/>
          <a:ea typeface="Arial"/>
          <a:cs typeface="+mn-cs"/>
        </a:defRPr>
      </a:lvl2pPr>
      <a:lvl3pPr marL="688975" indent="-234950" algn="l" defTabSz="4572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800" kern="1200">
          <a:solidFill>
            <a:srgbClr val="000000"/>
          </a:solidFill>
          <a:latin typeface="+mn-lt"/>
          <a:ea typeface="Arial"/>
          <a:cs typeface="+mn-cs"/>
        </a:defRPr>
      </a:lvl3pPr>
      <a:lvl4pPr marL="915988" indent="-227013" algn="l" defTabSz="569913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800" kern="1200">
          <a:solidFill>
            <a:srgbClr val="000000"/>
          </a:solidFill>
          <a:latin typeface="+mn-lt"/>
          <a:ea typeface="Arial"/>
          <a:cs typeface="+mn-cs"/>
        </a:defRPr>
      </a:lvl4pPr>
      <a:lvl5pPr marL="1143000" indent="-227013" algn="l" defTabSz="4572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800" kern="1200">
          <a:solidFill>
            <a:srgbClr val="000000"/>
          </a:solidFill>
          <a:latin typeface="+mn-lt"/>
          <a:ea typeface="Arial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93688"/>
            <a:ext cx="109728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312863"/>
            <a:ext cx="10972800" cy="4805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6"/>
          <p:cNvSpPr>
            <a:spLocks noChangeArrowheads="1"/>
          </p:cNvSpPr>
          <p:nvPr/>
        </p:nvSpPr>
        <p:spPr bwMode="auto">
          <a:xfrm>
            <a:off x="11575077" y="6586493"/>
            <a:ext cx="389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 defTabSz="342900" fontAlgn="base">
              <a:spcBef>
                <a:spcPct val="0"/>
              </a:spcBef>
              <a:spcAft>
                <a:spcPct val="0"/>
              </a:spcAft>
            </a:pPr>
            <a:fld id="{61EB682E-F9F7-A84A-866D-693BB3909AC4}" type="slidenum">
              <a:rPr lang="en-US" sz="600">
                <a:solidFill>
                  <a:srgbClr val="000000"/>
                </a:solidFill>
                <a:ea typeface="Arial"/>
                <a:cs typeface="Arial" charset="0"/>
              </a:rPr>
              <a:pPr algn="r" defTabSz="3429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00">
              <a:solidFill>
                <a:srgbClr val="000000"/>
              </a:solidFill>
              <a:ea typeface="Arial"/>
              <a:cs typeface="Arial" charset="0"/>
            </a:endParaRPr>
          </a:p>
        </p:txBody>
      </p:sp>
      <p:pic>
        <p:nvPicPr>
          <p:cNvPr id="7" name="Picture 10" descr="exmo_r.bmp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302" y="6594321"/>
            <a:ext cx="1367367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5457372" y="6596393"/>
            <a:ext cx="1277256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</a:pPr>
            <a:r>
              <a:rPr lang="en-US" sz="750">
                <a:solidFill>
                  <a:srgbClr val="000000"/>
                </a:solidFill>
              </a:rPr>
              <a:t>Proprietary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338560" y="45720"/>
            <a:ext cx="79742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448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  <p:sldLayoutId id="2147483835" r:id="rId13"/>
    <p:sldLayoutId id="2147483836" r:id="rId14"/>
    <p:sldLayoutId id="2147483837" r:id="rId15"/>
    <p:sldLayoutId id="2147483838" r:id="rId16"/>
    <p:sldLayoutId id="2147483839" r:id="rId17"/>
  </p:sldLayoutIdLst>
  <p:txStyles>
    <p:titleStyle>
      <a:lvl1pPr algn="l" defTabSz="3429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Arial"/>
          <a:ea typeface="Arial"/>
          <a:cs typeface="Arial"/>
        </a:defRPr>
      </a:lvl1pPr>
      <a:lvl2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2pPr>
      <a:lvl3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3pPr>
      <a:lvl4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4pPr>
      <a:lvl5pPr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  <a:cs typeface="Arial" charset="0"/>
        </a:defRPr>
      </a:lvl5pPr>
      <a:lvl6pPr marL="3429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6pPr>
      <a:lvl7pPr marL="6858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7pPr>
      <a:lvl8pPr marL="10287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8pPr>
      <a:lvl9pPr marL="1371600" algn="l" defTabSz="342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170260" indent="-170260" algn="l" defTabSz="3429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500" kern="1200">
          <a:solidFill>
            <a:srgbClr val="000000"/>
          </a:solidFill>
          <a:latin typeface="+mn-lt"/>
          <a:ea typeface="Arial"/>
          <a:cs typeface="Arial"/>
        </a:defRPr>
      </a:lvl1pPr>
      <a:lvl2pPr marL="340519" indent="-170260" algn="l" defTabSz="342900" rtl="0" eaLnBrk="1" fontAlgn="base" hangingPunct="1">
        <a:spcBef>
          <a:spcPts val="45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2pPr>
      <a:lvl3pPr marL="516731" indent="-176213" algn="l" defTabSz="3429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3pPr>
      <a:lvl4pPr marL="686991" indent="-170260" algn="l" defTabSz="427435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4pPr>
      <a:lvl5pPr marL="857250" indent="-170260" algn="l" defTabSz="342900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350" kern="1200">
          <a:solidFill>
            <a:srgbClr val="000000"/>
          </a:solidFill>
          <a:latin typeface="+mn-lt"/>
          <a:ea typeface="Arial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349FA1C-5269-8B03-BF35-23D912C98E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7B95C1-4CC0-046A-AF4F-9B90C0CFA0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8ED6D6-94AE-D880-80D6-FEC9889014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867787B-60A9-4367-AF56-CF92354B6159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0CD2FA-4D5B-3625-B9FD-2D8EE12140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2DFE42-B082-943E-4674-1AACC450C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B74B081-B4AD-4F2E-A49B-1CC9F8E9D9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614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4.xml"/><Relationship Id="rId4" Type="http://schemas.openxmlformats.org/officeDocument/2006/relationships/image" Target="../media/image10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tags" Target="../tags/tag38.xml"/><Relationship Id="rId7" Type="http://schemas.openxmlformats.org/officeDocument/2006/relationships/image" Target="../media/image35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80.xml"/><Relationship Id="rId4" Type="http://schemas.openxmlformats.org/officeDocument/2006/relationships/tags" Target="../tags/tag39.xml"/><Relationship Id="rId9" Type="http://schemas.openxmlformats.org/officeDocument/2006/relationships/image" Target="../media/image3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4.xml"/><Relationship Id="rId4" Type="http://schemas.openxmlformats.org/officeDocument/2006/relationships/image" Target="../media/image10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38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80.xml"/><Relationship Id="rId4" Type="http://schemas.openxmlformats.org/officeDocument/2006/relationships/tags" Target="../tags/tag4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2.png"/><Relationship Id="rId3" Type="http://schemas.openxmlformats.org/officeDocument/2006/relationships/tags" Target="../tags/tag46.xml"/><Relationship Id="rId7" Type="http://schemas.openxmlformats.org/officeDocument/2006/relationships/image" Target="../media/image39.png"/><Relationship Id="rId12" Type="http://schemas.openxmlformats.org/officeDocument/2006/relationships/image" Target="../media/image34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notesSlide" Target="../notesSlides/notesSlide13.xml"/><Relationship Id="rId11" Type="http://schemas.openxmlformats.org/officeDocument/2006/relationships/image" Target="../media/image28.png"/><Relationship Id="rId5" Type="http://schemas.openxmlformats.org/officeDocument/2006/relationships/slideLayout" Target="../slideLayouts/slideLayout80.xml"/><Relationship Id="rId10" Type="http://schemas.openxmlformats.org/officeDocument/2006/relationships/image" Target="../media/image26.png"/><Relationship Id="rId4" Type="http://schemas.openxmlformats.org/officeDocument/2006/relationships/tags" Target="../tags/tag47.xml"/><Relationship Id="rId9" Type="http://schemas.openxmlformats.org/officeDocument/2006/relationships/image" Target="../media/image41.png"/><Relationship Id="rId1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tags" Target="../tags/tag50.xml"/><Relationship Id="rId7" Type="http://schemas.openxmlformats.org/officeDocument/2006/relationships/image" Target="../media/image43.pn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80.xml"/><Relationship Id="rId4" Type="http://schemas.openxmlformats.org/officeDocument/2006/relationships/tags" Target="../tags/tag51.xml"/><Relationship Id="rId9" Type="http://schemas.openxmlformats.org/officeDocument/2006/relationships/image" Target="../media/image4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4.xml"/><Relationship Id="rId4" Type="http://schemas.openxmlformats.org/officeDocument/2006/relationships/image" Target="../media/image10.jp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54.xml"/><Relationship Id="rId7" Type="http://schemas.openxmlformats.org/officeDocument/2006/relationships/image" Target="../media/image46.pn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80.xml"/><Relationship Id="rId4" Type="http://schemas.openxmlformats.org/officeDocument/2006/relationships/tags" Target="../tags/tag5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tags" Target="../tags/tag58.xml"/><Relationship Id="rId7" Type="http://schemas.openxmlformats.org/officeDocument/2006/relationships/image" Target="../media/image48.pn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80.xml"/><Relationship Id="rId4" Type="http://schemas.openxmlformats.org/officeDocument/2006/relationships/tags" Target="../tags/tag59.xml"/><Relationship Id="rId9" Type="http://schemas.openxmlformats.org/officeDocument/2006/relationships/image" Target="../media/image5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7.png"/><Relationship Id="rId3" Type="http://schemas.openxmlformats.org/officeDocument/2006/relationships/tags" Target="../tags/tag62.xml"/><Relationship Id="rId7" Type="http://schemas.openxmlformats.org/officeDocument/2006/relationships/image" Target="../media/image51.png"/><Relationship Id="rId12" Type="http://schemas.openxmlformats.org/officeDocument/2006/relationships/image" Target="../media/image56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notesSlide" Target="../notesSlides/notesSlide18.xml"/><Relationship Id="rId11" Type="http://schemas.openxmlformats.org/officeDocument/2006/relationships/image" Target="../media/image55.png"/><Relationship Id="rId5" Type="http://schemas.openxmlformats.org/officeDocument/2006/relationships/slideLayout" Target="../slideLayouts/slideLayout80.xml"/><Relationship Id="rId10" Type="http://schemas.openxmlformats.org/officeDocument/2006/relationships/image" Target="../media/image54.png"/><Relationship Id="rId4" Type="http://schemas.openxmlformats.org/officeDocument/2006/relationships/tags" Target="../tags/tag63.xml"/><Relationship Id="rId9" Type="http://schemas.openxmlformats.org/officeDocument/2006/relationships/image" Target="../media/image5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7.xml"/><Relationship Id="rId3" Type="http://schemas.openxmlformats.org/officeDocument/2006/relationships/tags" Target="../tags/tag6.xml"/><Relationship Id="rId7" Type="http://schemas.openxmlformats.org/officeDocument/2006/relationships/slide" Target="slide3.xml"/><Relationship Id="rId12" Type="http://schemas.openxmlformats.org/officeDocument/2006/relationships/slide" Target="slide1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notesSlide" Target="../notesSlides/notesSlide2.xml"/><Relationship Id="rId11" Type="http://schemas.openxmlformats.org/officeDocument/2006/relationships/slide" Target="slide10.xml"/><Relationship Id="rId5" Type="http://schemas.openxmlformats.org/officeDocument/2006/relationships/slideLayout" Target="../slideLayouts/slideLayout80.xml"/><Relationship Id="rId10" Type="http://schemas.openxmlformats.org/officeDocument/2006/relationships/slide" Target="slide5.xml"/><Relationship Id="rId4" Type="http://schemas.openxmlformats.org/officeDocument/2006/relationships/tags" Target="../tags/tag7.xml"/><Relationship Id="rId9" Type="http://schemas.openxmlformats.org/officeDocument/2006/relationships/slide" Target="slide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tags" Target="../tags/tag10.xml"/><Relationship Id="rId7" Type="http://schemas.openxmlformats.org/officeDocument/2006/relationships/chart" Target="../charts/chart1.xml"/><Relationship Id="rId12" Type="http://schemas.openxmlformats.org/officeDocument/2006/relationships/image" Target="../media/image15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14.png"/><Relationship Id="rId5" Type="http://schemas.openxmlformats.org/officeDocument/2006/relationships/slideLayout" Target="../slideLayouts/slideLayout80.xml"/><Relationship Id="rId10" Type="http://schemas.openxmlformats.org/officeDocument/2006/relationships/image" Target="../media/image13.png"/><Relationship Id="rId4" Type="http://schemas.openxmlformats.org/officeDocument/2006/relationships/tags" Target="../tags/tag11.xml"/><Relationship Id="rId9" Type="http://schemas.openxmlformats.org/officeDocument/2006/relationships/image" Target="../media/image12.png"/><Relationship Id="rId1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tags" Target="../tags/tag14.xml"/><Relationship Id="rId7" Type="http://schemas.openxmlformats.org/officeDocument/2006/relationships/image" Target="../media/image17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80.xml"/><Relationship Id="rId10" Type="http://schemas.openxmlformats.org/officeDocument/2006/relationships/image" Target="../media/image20.svg"/><Relationship Id="rId4" Type="http://schemas.openxmlformats.org/officeDocument/2006/relationships/tags" Target="../tags/tag15.xml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tags" Target="../tags/tag18.xml"/><Relationship Id="rId7" Type="http://schemas.openxmlformats.org/officeDocument/2006/relationships/image" Target="../media/image2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notesSlide" Target="../notesSlides/notesSlide5.xml"/><Relationship Id="rId11" Type="http://schemas.openxmlformats.org/officeDocument/2006/relationships/image" Target="../media/image25.svg"/><Relationship Id="rId5" Type="http://schemas.openxmlformats.org/officeDocument/2006/relationships/slideLayout" Target="../slideLayouts/slideLayout80.xml"/><Relationship Id="rId10" Type="http://schemas.openxmlformats.org/officeDocument/2006/relationships/image" Target="../media/image24.png"/><Relationship Id="rId4" Type="http://schemas.openxmlformats.org/officeDocument/2006/relationships/tags" Target="../tags/tag19.xml"/><Relationship Id="rId9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tags" Target="../tags/tag22.xml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notesSlide" Target="../notesSlides/notesSlide6.xml"/><Relationship Id="rId11" Type="http://schemas.openxmlformats.org/officeDocument/2006/relationships/image" Target="../media/image30.png"/><Relationship Id="rId5" Type="http://schemas.openxmlformats.org/officeDocument/2006/relationships/slideLayout" Target="../slideLayouts/slideLayout80.xml"/><Relationship Id="rId10" Type="http://schemas.openxmlformats.org/officeDocument/2006/relationships/image" Target="../media/image29.png"/><Relationship Id="rId4" Type="http://schemas.openxmlformats.org/officeDocument/2006/relationships/tags" Target="../tags/tag23.xml"/><Relationship Id="rId9" Type="http://schemas.openxmlformats.org/officeDocument/2006/relationships/image" Target="../media/image28.png"/><Relationship Id="rId1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34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80.xml"/><Relationship Id="rId4" Type="http://schemas.openxmlformats.org/officeDocument/2006/relationships/tags" Target="../tags/tag2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34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80.xml"/><Relationship Id="rId4" Type="http://schemas.openxmlformats.org/officeDocument/2006/relationships/tags" Target="../tags/tag3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34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80.xml"/><Relationship Id="rId4" Type="http://schemas.openxmlformats.org/officeDocument/2006/relationships/tags" Target="../tags/tag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C33971-3926-608E-0F3D-2F47209B66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2546AFA-C74D-8E02-03AF-7BBF7519C8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716000" cy="6858000"/>
          </a:xfrm>
          <a:prstGeom prst="rect">
            <a:avLst/>
          </a:prstGeom>
        </p:spPr>
      </p:pic>
      <p:pic>
        <p:nvPicPr>
          <p:cNvPr id="12" name="Google Shape;105;p25">
            <a:extLst>
              <a:ext uri="{FF2B5EF4-FFF2-40B4-BE49-F238E27FC236}">
                <a16:creationId xmlns:a16="http://schemas.microsoft.com/office/drawing/2014/main" id="{04E2F557-937F-51FB-53F2-7623D4421C29}"/>
              </a:ext>
            </a:extLst>
          </p:cNvPr>
          <p:cNvPicPr preferRelativeResize="0"/>
          <p:nvPr/>
        </p:nvPicPr>
        <p:blipFill rotWithShape="1">
          <a:blip r:embed="rId4">
            <a:alphaModFix amt="63000"/>
          </a:blip>
          <a:srcRect t="2965"/>
          <a:stretch/>
        </p:blipFill>
        <p:spPr>
          <a:xfrm>
            <a:off x="-355" y="0"/>
            <a:ext cx="12192355" cy="6889022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07;p25">
            <a:extLst>
              <a:ext uri="{FF2B5EF4-FFF2-40B4-BE49-F238E27FC236}">
                <a16:creationId xmlns:a16="http://schemas.microsoft.com/office/drawing/2014/main" id="{15DAFAC7-2B5A-B21D-D78C-08B8C49A6833}"/>
              </a:ext>
            </a:extLst>
          </p:cNvPr>
          <p:cNvSpPr txBox="1">
            <a:spLocks/>
          </p:cNvSpPr>
          <p:nvPr/>
        </p:nvSpPr>
        <p:spPr>
          <a:xfrm>
            <a:off x="323852" y="5088084"/>
            <a:ext cx="7185035" cy="8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 marL="0" indent="0">
              <a:buClr>
                <a:prstClr val="white"/>
              </a:buClr>
              <a:defRPr/>
            </a:pPr>
            <a:endParaRPr lang="en-ID" sz="2500" kern="0" dirty="0">
              <a:solidFill>
                <a:prstClr val="white"/>
              </a:solidFill>
              <a:latin typeface="EMprint Light" panose="020B0303020204020204" pitchFamily="34" charset="0"/>
              <a:ea typeface="EMprint Light" panose="020B0303020204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D81CA75-2690-EB8E-B2B3-633F9A963DD7}"/>
              </a:ext>
            </a:extLst>
          </p:cNvPr>
          <p:cNvSpPr txBox="1"/>
          <p:nvPr/>
        </p:nvSpPr>
        <p:spPr>
          <a:xfrm>
            <a:off x="1014523" y="1461184"/>
            <a:ext cx="9172355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6000" b="1" dirty="0">
                <a:solidFill>
                  <a:prstClr val="white"/>
                </a:solidFill>
                <a:latin typeface="Georgia" panose="02040502050405020303" pitchFamily="18" charset="0"/>
                <a:ea typeface="EMprint" panose="020B0503020204020204" pitchFamily="34" charset="0"/>
                <a:cs typeface="Arial" panose="020B0604020202020204" pitchFamily="34" charset="0"/>
              </a:rPr>
              <a:t>Final Project Presentation</a:t>
            </a:r>
          </a:p>
          <a:p>
            <a:pPr>
              <a:lnSpc>
                <a:spcPct val="150000"/>
              </a:lnSpc>
              <a:defRPr/>
            </a:pPr>
            <a:r>
              <a:rPr lang="en-US" sz="2400" dirty="0">
                <a:solidFill>
                  <a:prstClr val="white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Rizky Fajar Aditya – JCDEOL001</a:t>
            </a:r>
          </a:p>
          <a:p>
            <a:pPr>
              <a:lnSpc>
                <a:spcPct val="150000"/>
              </a:lnSpc>
              <a:defRPr/>
            </a:pPr>
            <a:r>
              <a:rPr lang="en-US" sz="2000" dirty="0">
                <a:solidFill>
                  <a:prstClr val="white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Released February 2025</a:t>
            </a:r>
          </a:p>
          <a:p>
            <a:pPr>
              <a:defRPr/>
            </a:pPr>
            <a:endParaRPr lang="en-US" sz="3200" dirty="0">
              <a:solidFill>
                <a:prstClr val="white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dirty="0" err="1">
                <a:solidFill>
                  <a:prstClr val="white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Github</a:t>
            </a:r>
            <a:r>
              <a:rPr lang="en-US" dirty="0">
                <a:solidFill>
                  <a:prstClr val="white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: https://github.com/rizkyjarr/final-project-purwadhika</a:t>
            </a:r>
          </a:p>
          <a:p>
            <a:pPr>
              <a:defRPr/>
            </a:pPr>
            <a:endParaRPr lang="en-US" sz="3200" b="1" dirty="0">
              <a:solidFill>
                <a:prstClr val="white"/>
              </a:solidFill>
              <a:latin typeface="Georgia" panose="02040502050405020303" pitchFamily="18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E3085B4-D678-E122-C415-ED697AC5FC39}"/>
              </a:ext>
            </a:extLst>
          </p:cNvPr>
          <p:cNvSpPr/>
          <p:nvPr/>
        </p:nvSpPr>
        <p:spPr>
          <a:xfrm>
            <a:off x="1134480" y="1234954"/>
            <a:ext cx="976260" cy="45720"/>
          </a:xfrm>
          <a:prstGeom prst="rect">
            <a:avLst/>
          </a:prstGeom>
          <a:solidFill>
            <a:srgbClr val="35B7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27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19513A0-BF93-7437-37F2-B1089CD10640}"/>
              </a:ext>
            </a:extLst>
          </p:cNvPr>
          <p:cNvSpPr txBox="1"/>
          <p:nvPr/>
        </p:nvSpPr>
        <p:spPr>
          <a:xfrm>
            <a:off x="10605181" y="38100"/>
            <a:ext cx="157411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</p:spTree>
    <p:extLst>
      <p:ext uri="{BB962C8B-B14F-4D97-AF65-F5344CB8AC3E}">
        <p14:creationId xmlns:p14="http://schemas.microsoft.com/office/powerpoint/2010/main" val="21666610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20DCD6-1E22-4FA1-946B-F3895476A4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481030A-94BE-3454-FA2B-7519095DA822}"/>
              </a:ext>
            </a:extLst>
          </p:cNvPr>
          <p:cNvSpPr txBox="1"/>
          <p:nvPr/>
        </p:nvSpPr>
        <p:spPr>
          <a:xfrm>
            <a:off x="256941" y="1425752"/>
            <a:ext cx="33244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ata Generation</a:t>
            </a:r>
            <a:endParaRPr kumimoji="0" lang="en-US" sz="16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5BFAAB3-0BC8-1DC7-04D7-10811BAA3E24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F611A1A-91F0-3A1C-D791-0E0F4C553DC4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8BCA7710-751B-0710-B46D-8179568F9903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0D255D13-969B-C537-3C0B-8513CB143A89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Background and Study Case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E8E277E5-808B-1AA9-A48D-DD9861C5DB75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81A5443-F83D-4F1E-FB2E-85350C9424A5}"/>
              </a:ext>
            </a:extLst>
          </p:cNvPr>
          <p:cNvCxnSpPr>
            <a:cxnSpLocks/>
          </p:cNvCxnSpPr>
          <p:nvPr/>
        </p:nvCxnSpPr>
        <p:spPr>
          <a:xfrm>
            <a:off x="345057" y="1790206"/>
            <a:ext cx="3706243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E4CF9E8D-EF56-E2D8-AAD9-BC8EC0E61780}"/>
              </a:ext>
            </a:extLst>
          </p:cNvPr>
          <p:cNvSpPr txBox="1"/>
          <p:nvPr/>
        </p:nvSpPr>
        <p:spPr>
          <a:xfrm>
            <a:off x="206943" y="478058"/>
            <a:ext cx="1198505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How well did the data pipeline design perform after implementation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t performs well, ensuring seamless data ingestion into the warehouse and transforming raw data into business-ready insights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079EB7A-4C9F-6D82-91BB-34B21A22BB1D}"/>
              </a:ext>
            </a:extLst>
          </p:cNvPr>
          <p:cNvCxnSpPr>
            <a:cxnSpLocks/>
          </p:cNvCxnSpPr>
          <p:nvPr/>
        </p:nvCxnSpPr>
        <p:spPr>
          <a:xfrm>
            <a:off x="345057" y="1370913"/>
            <a:ext cx="11590003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CC69C12F-B097-DC51-4572-748403E93015}"/>
              </a:ext>
            </a:extLst>
          </p:cNvPr>
          <p:cNvSpPr txBox="1"/>
          <p:nvPr/>
        </p:nvSpPr>
        <p:spPr>
          <a:xfrm>
            <a:off x="270069" y="1911239"/>
            <a:ext cx="400983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Successfully </a:t>
            </a:r>
            <a:r>
              <a:rPr lang="en-US" sz="14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generate and load data 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nto PostgreSQL, as well as </a:t>
            </a:r>
            <a:r>
              <a:rPr lang="en-US" sz="14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building relationships between tables – 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all orchestrated using </a:t>
            </a:r>
            <a:r>
              <a:rPr lang="en-US" sz="14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Airflow</a:t>
            </a:r>
          </a:p>
          <a:p>
            <a:pPr marR="0" lvl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Send discord alert if either error or retry 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n logic automation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(</a:t>
            </a:r>
            <a:r>
              <a:rPr lang="en-US" sz="11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refer to appendix-2)</a:t>
            </a:r>
            <a:endParaRPr kumimoji="0" lang="en-US" sz="110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lang="en-US" sz="1400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7A39302-1076-CD1A-E03E-BB324C9E5E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6874" y="3486399"/>
            <a:ext cx="3153097" cy="2585873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1BD0E04-68C2-3CE9-F4E9-7BB455014A72}"/>
              </a:ext>
            </a:extLst>
          </p:cNvPr>
          <p:cNvSpPr txBox="1"/>
          <p:nvPr/>
        </p:nvSpPr>
        <p:spPr>
          <a:xfrm>
            <a:off x="1236523" y="6090244"/>
            <a:ext cx="17531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1.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ERD in PostgreSQ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D5360B6-1A88-0946-36F6-1938FBE5A019}"/>
              </a:ext>
            </a:extLst>
          </p:cNvPr>
          <p:cNvSpPr txBox="1"/>
          <p:nvPr/>
        </p:nvSpPr>
        <p:spPr>
          <a:xfrm>
            <a:off x="4180120" y="1425752"/>
            <a:ext cx="33244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ata Warehouse Modelling</a:t>
            </a:r>
            <a:endParaRPr kumimoji="0" lang="en-US" sz="16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962AB4C-1EAB-600E-6984-2D7071F5FD13}"/>
              </a:ext>
            </a:extLst>
          </p:cNvPr>
          <p:cNvCxnSpPr>
            <a:cxnSpLocks/>
          </p:cNvCxnSpPr>
          <p:nvPr/>
        </p:nvCxnSpPr>
        <p:spPr>
          <a:xfrm>
            <a:off x="4268236" y="1790206"/>
            <a:ext cx="3706243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0B9B1871-9A65-3196-05D8-1E65F9289DC2}"/>
              </a:ext>
            </a:extLst>
          </p:cNvPr>
          <p:cNvSpPr txBox="1"/>
          <p:nvPr/>
        </p:nvSpPr>
        <p:spPr>
          <a:xfrm>
            <a:off x="4193248" y="1911239"/>
            <a:ext cx="400983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Successfully executed </a:t>
            </a:r>
            <a:r>
              <a:rPr lang="en-US" sz="14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ELT process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, enabling </a:t>
            </a:r>
            <a:r>
              <a:rPr lang="en-US" sz="14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ncremental data 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ngestion from PostgreSQL to </a:t>
            </a:r>
            <a:r>
              <a:rPr lang="en-US" sz="1400" dirty="0" err="1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BigQuery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using </a:t>
            </a:r>
            <a:r>
              <a:rPr lang="en-US" sz="1400" b="1" dirty="0" err="1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upsert</a:t>
            </a:r>
            <a:r>
              <a:rPr lang="en-US" sz="14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method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.</a:t>
            </a:r>
            <a:endParaRPr lang="en-US" sz="1400" b="1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R="0" lvl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Transformed data </a:t>
            </a: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across layers from source to mart, ensuring business-ready insights. Implemented a </a:t>
            </a:r>
            <a:r>
              <a:rPr kumimoji="0" lang="en-US" sz="14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star schema </a:t>
            </a: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n facts layer to optimize analytical performance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80DE2C1C-9016-7283-062C-F767166C65F8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4953"/>
          <a:stretch/>
        </p:blipFill>
        <p:spPr>
          <a:xfrm>
            <a:off x="6682524" y="4632716"/>
            <a:ext cx="1401629" cy="1457528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694822B-4DB0-EEC8-F96B-C5350DF52CCB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8470"/>
          <a:stretch/>
        </p:blipFill>
        <p:spPr>
          <a:xfrm>
            <a:off x="4503896" y="4192888"/>
            <a:ext cx="1970585" cy="2324424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C74D1C56-F153-140B-4617-C0C92844C787}"/>
              </a:ext>
            </a:extLst>
          </p:cNvPr>
          <p:cNvSpPr txBox="1"/>
          <p:nvPr/>
        </p:nvSpPr>
        <p:spPr>
          <a:xfrm>
            <a:off x="5517631" y="6517312"/>
            <a:ext cx="17531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2.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Dataset in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BigQuery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D3875C9-6D27-3C8D-EDD2-DD8240588C4F}"/>
              </a:ext>
            </a:extLst>
          </p:cNvPr>
          <p:cNvSpPr txBox="1"/>
          <p:nvPr/>
        </p:nvSpPr>
        <p:spPr>
          <a:xfrm>
            <a:off x="8131247" y="1425752"/>
            <a:ext cx="37906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Fulfillment of business needs</a:t>
            </a:r>
            <a:endParaRPr kumimoji="0" lang="en-US" sz="16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3A64CB7-4B4F-6D6A-66D6-F07A287505B3}"/>
              </a:ext>
            </a:extLst>
          </p:cNvPr>
          <p:cNvCxnSpPr>
            <a:cxnSpLocks/>
          </p:cNvCxnSpPr>
          <p:nvPr/>
        </p:nvCxnSpPr>
        <p:spPr>
          <a:xfrm>
            <a:off x="8219363" y="1790206"/>
            <a:ext cx="3706243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14119780-A432-691C-CA1D-42F7C1E47EFB}"/>
              </a:ext>
            </a:extLst>
          </p:cNvPr>
          <p:cNvSpPr txBox="1"/>
          <p:nvPr/>
        </p:nvSpPr>
        <p:spPr>
          <a:xfrm>
            <a:off x="8144375" y="1911239"/>
            <a:ext cx="400983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The data can answer the questions that are asked in project’s background, such as:</a:t>
            </a:r>
            <a:endParaRPr lang="en-US" sz="1400" b="1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R="0" lvl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C2721CD-1EEA-5608-7FD1-3CEC831DA24F}"/>
              </a:ext>
            </a:extLst>
          </p:cNvPr>
          <p:cNvSpPr txBox="1"/>
          <p:nvPr/>
        </p:nvSpPr>
        <p:spPr>
          <a:xfrm>
            <a:off x="8620645" y="2456532"/>
            <a:ext cx="3493525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2552E2"/>
                </a:solidFill>
                <a:latin typeface="Georgia" panose="02040502050405020303" pitchFamily="18" charset="0"/>
              </a:rPr>
              <a:t>50% </a:t>
            </a:r>
            <a:r>
              <a:rPr lang="en-US" sz="1400" i="1" dirty="0">
                <a:latin typeface="Georgia" panose="02040502050405020303" pitchFamily="18" charset="0"/>
              </a:rPr>
              <a:t>of rides were cancelled.. need further investigations..</a:t>
            </a:r>
            <a:endParaRPr lang="en-ID" i="1" dirty="0">
              <a:latin typeface="Georgia" panose="02040502050405020303" pitchFamily="18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644BC906-F639-5339-62D5-0EF48D65FD24}"/>
              </a:ext>
            </a:extLst>
          </p:cNvPr>
          <p:cNvCxnSpPr>
            <a:cxnSpLocks/>
          </p:cNvCxnSpPr>
          <p:nvPr/>
        </p:nvCxnSpPr>
        <p:spPr>
          <a:xfrm>
            <a:off x="4173253" y="1804876"/>
            <a:ext cx="0" cy="4804504"/>
          </a:xfrm>
          <a:prstGeom prst="line">
            <a:avLst/>
          </a:prstGeom>
          <a:ln w="1270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DF339CF8-319B-149F-D99A-0E2FE05F15BF}"/>
              </a:ext>
            </a:extLst>
          </p:cNvPr>
          <p:cNvCxnSpPr>
            <a:cxnSpLocks/>
          </p:cNvCxnSpPr>
          <p:nvPr/>
        </p:nvCxnSpPr>
        <p:spPr>
          <a:xfrm>
            <a:off x="8131247" y="1804876"/>
            <a:ext cx="0" cy="4804504"/>
          </a:xfrm>
          <a:prstGeom prst="line">
            <a:avLst/>
          </a:prstGeom>
          <a:ln w="1270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FB433DDB-2ADF-1C0D-D866-DC74512B87F4}"/>
              </a:ext>
            </a:extLst>
          </p:cNvPr>
          <p:cNvSpPr txBox="1"/>
          <p:nvPr/>
        </p:nvSpPr>
        <p:spPr>
          <a:xfrm>
            <a:off x="8620645" y="3366142"/>
            <a:ext cx="3493525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2552E2"/>
                </a:solidFill>
                <a:latin typeface="Georgia" panose="02040502050405020303" pitchFamily="18" charset="0"/>
              </a:rPr>
              <a:t>438.2$ </a:t>
            </a:r>
            <a:r>
              <a:rPr lang="en-US" sz="1400" i="1" dirty="0">
                <a:latin typeface="Georgia" panose="02040502050405020303" pitchFamily="18" charset="0"/>
              </a:rPr>
              <a:t>in potential revenue was lost due to cancellations</a:t>
            </a:r>
            <a:endParaRPr lang="en-ID" i="1" dirty="0">
              <a:latin typeface="Georgia" panose="02040502050405020303" pitchFamily="18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989A58E8-5B83-FF6C-8482-E7B7DAC3D62E}"/>
              </a:ext>
            </a:extLst>
          </p:cNvPr>
          <p:cNvSpPr txBox="1"/>
          <p:nvPr/>
        </p:nvSpPr>
        <p:spPr>
          <a:xfrm>
            <a:off x="8620645" y="4275752"/>
            <a:ext cx="3493525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2552E2"/>
                </a:solidFill>
                <a:latin typeface="Georgia" panose="02040502050405020303" pitchFamily="18" charset="0"/>
              </a:rPr>
              <a:t>150</a:t>
            </a:r>
            <a:r>
              <a:rPr lang="en-US" sz="1400" i="1" dirty="0">
                <a:latin typeface="Georgia" panose="02040502050405020303" pitchFamily="18" charset="0"/>
              </a:rPr>
              <a:t> drivers were registered within the database..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95D44C8E-3AD7-9ED7-1592-4134E1B41A11}"/>
              </a:ext>
            </a:extLst>
          </p:cNvPr>
          <p:cNvSpPr txBox="1"/>
          <p:nvPr/>
        </p:nvSpPr>
        <p:spPr>
          <a:xfrm>
            <a:off x="8620645" y="5185362"/>
            <a:ext cx="34935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2552E2"/>
                </a:solidFill>
                <a:latin typeface="Georgia" panose="02040502050405020303" pitchFamily="18" charset="0"/>
              </a:rPr>
              <a:t>15%</a:t>
            </a:r>
            <a:r>
              <a:rPr lang="en-US" sz="1400" i="1" dirty="0">
                <a:latin typeface="Georgia" panose="02040502050405020303" pitchFamily="18" charset="0"/>
              </a:rPr>
              <a:t> of drivers are not generating any revenue.. Need to stimulate for retention…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F2E9CFA-633D-9DC9-6CEC-BDABBD861403}"/>
              </a:ext>
            </a:extLst>
          </p:cNvPr>
          <p:cNvSpPr txBox="1"/>
          <p:nvPr/>
        </p:nvSpPr>
        <p:spPr>
          <a:xfrm>
            <a:off x="9971569" y="6139916"/>
            <a:ext cx="2240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Data as of 12</a:t>
            </a:r>
            <a:r>
              <a:rPr lang="en-US" sz="1000" i="1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ebruary 2025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E49FB32-6DAD-E13E-0739-1811BB32B711}"/>
              </a:ext>
            </a:extLst>
          </p:cNvPr>
          <p:cNvGrpSpPr/>
          <p:nvPr/>
        </p:nvGrpSpPr>
        <p:grpSpPr>
          <a:xfrm>
            <a:off x="10283354" y="6470881"/>
            <a:ext cx="1736750" cy="139126"/>
            <a:chOff x="9901276" y="6498754"/>
            <a:chExt cx="1736750" cy="139126"/>
          </a:xfrm>
        </p:grpSpPr>
        <p:sp>
          <p:nvSpPr>
            <p:cNvPr id="10" name="SlideLogoText">
              <a:extLst>
                <a:ext uri="{FF2B5EF4-FFF2-40B4-BE49-F238E27FC236}">
                  <a16:creationId xmlns:a16="http://schemas.microsoft.com/office/drawing/2014/main" id="{BCE31267-DC7E-6B00-6FCE-B88201C8D35B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9901276" y="6499381"/>
              <a:ext cx="1617430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3" name="Slide Number">
              <a:extLst>
                <a:ext uri="{FF2B5EF4-FFF2-40B4-BE49-F238E27FC236}">
                  <a16:creationId xmlns:a16="http://schemas.microsoft.com/office/drawing/2014/main" id="{9668C78B-FAFB-CDF1-FCA6-613094BCAC11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10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6874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21026C-09C6-37E4-91B0-3DF678511F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4B39312-28D6-E5F1-4867-A07C2ABF57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716000" cy="6858000"/>
          </a:xfrm>
          <a:prstGeom prst="rect">
            <a:avLst/>
          </a:prstGeom>
        </p:spPr>
      </p:pic>
      <p:pic>
        <p:nvPicPr>
          <p:cNvPr id="12" name="Google Shape;105;p25">
            <a:extLst>
              <a:ext uri="{FF2B5EF4-FFF2-40B4-BE49-F238E27FC236}">
                <a16:creationId xmlns:a16="http://schemas.microsoft.com/office/drawing/2014/main" id="{C9152D13-66FC-C9B9-DE4E-2F9D5A322C43}"/>
              </a:ext>
            </a:extLst>
          </p:cNvPr>
          <p:cNvPicPr preferRelativeResize="0"/>
          <p:nvPr/>
        </p:nvPicPr>
        <p:blipFill rotWithShape="1">
          <a:blip r:embed="rId4">
            <a:alphaModFix amt="63000"/>
          </a:blip>
          <a:srcRect t="2965"/>
          <a:stretch/>
        </p:blipFill>
        <p:spPr>
          <a:xfrm>
            <a:off x="-355" y="0"/>
            <a:ext cx="12192355" cy="6889022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07;p25">
            <a:extLst>
              <a:ext uri="{FF2B5EF4-FFF2-40B4-BE49-F238E27FC236}">
                <a16:creationId xmlns:a16="http://schemas.microsoft.com/office/drawing/2014/main" id="{F696F2C5-5788-CBCD-9B81-2685FCC3A2F9}"/>
              </a:ext>
            </a:extLst>
          </p:cNvPr>
          <p:cNvSpPr txBox="1">
            <a:spLocks/>
          </p:cNvSpPr>
          <p:nvPr/>
        </p:nvSpPr>
        <p:spPr>
          <a:xfrm>
            <a:off x="323852" y="5088084"/>
            <a:ext cx="7185035" cy="8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 marL="0" indent="0">
              <a:buClr>
                <a:prstClr val="white"/>
              </a:buClr>
              <a:defRPr/>
            </a:pPr>
            <a:endParaRPr lang="en-ID" sz="2500" kern="0" dirty="0">
              <a:solidFill>
                <a:prstClr val="white"/>
              </a:solidFill>
              <a:latin typeface="EMprint Light" panose="020B0303020204020204" pitchFamily="34" charset="0"/>
              <a:ea typeface="EMprint Light" panose="020B0303020204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D4F02C8-66D5-98D4-21B2-B55D321996CF}"/>
              </a:ext>
            </a:extLst>
          </p:cNvPr>
          <p:cNvSpPr txBox="1"/>
          <p:nvPr/>
        </p:nvSpPr>
        <p:spPr>
          <a:xfrm>
            <a:off x="1509823" y="2121584"/>
            <a:ext cx="9172355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3600" dirty="0">
                <a:solidFill>
                  <a:prstClr val="white"/>
                </a:solidFill>
                <a:latin typeface="EMprint" panose="020B0503020204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Final Project -  Web Scraping Using Selenium</a:t>
            </a:r>
            <a:endParaRPr lang="en-US" sz="3200" b="1" dirty="0">
              <a:solidFill>
                <a:prstClr val="white"/>
              </a:solidFill>
              <a:latin typeface="EMprint" panose="020B0503020204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en-US" sz="3200" b="1" dirty="0">
              <a:solidFill>
                <a:prstClr val="white"/>
              </a:solidFill>
              <a:latin typeface="EMprint" panose="020B0503020204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2400" b="1" dirty="0" err="1">
                <a:solidFill>
                  <a:prstClr val="white"/>
                </a:solidFill>
                <a:latin typeface="EMprint" panose="020B0503020204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Github</a:t>
            </a:r>
            <a:r>
              <a:rPr lang="en-US" sz="2400" b="1" dirty="0">
                <a:solidFill>
                  <a:prstClr val="white"/>
                </a:solidFill>
                <a:latin typeface="EMprint" panose="020B0503020204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: https://github.com/rizkyjarr/final-project-purwadhika</a:t>
            </a:r>
          </a:p>
          <a:p>
            <a:pPr>
              <a:defRPr/>
            </a:pPr>
            <a:endParaRPr lang="en-US" sz="3200" b="1" dirty="0">
              <a:solidFill>
                <a:prstClr val="white"/>
              </a:solidFill>
              <a:latin typeface="EMprint" panose="020B0503020204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6C7D2AA-B3F1-5704-0AD2-80139E4CC876}"/>
              </a:ext>
            </a:extLst>
          </p:cNvPr>
          <p:cNvSpPr/>
          <p:nvPr/>
        </p:nvSpPr>
        <p:spPr>
          <a:xfrm>
            <a:off x="1629780" y="1895354"/>
            <a:ext cx="976260" cy="45720"/>
          </a:xfrm>
          <a:prstGeom prst="rect">
            <a:avLst/>
          </a:prstGeom>
          <a:solidFill>
            <a:srgbClr val="35B7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2700"/>
          </a:p>
        </p:txBody>
      </p:sp>
    </p:spTree>
    <p:extLst>
      <p:ext uri="{BB962C8B-B14F-4D97-AF65-F5344CB8AC3E}">
        <p14:creationId xmlns:p14="http://schemas.microsoft.com/office/powerpoint/2010/main" val="40038551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94ED39-17A3-F7C9-8D98-E823908708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01401C37-21A6-8A11-F83F-D26CA505211A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82296A4-1210-E490-978F-D9C0A07DAE07}"/>
              </a:ext>
            </a:extLst>
          </p:cNvPr>
          <p:cNvSpPr txBox="1"/>
          <p:nvPr/>
        </p:nvSpPr>
        <p:spPr>
          <a:xfrm>
            <a:off x="206943" y="478058"/>
            <a:ext cx="12089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EMprint" panose="020B0503020204020204" pitchFamily="34" charset="0"/>
              </a:rPr>
              <a:t>Study Case: Web Scraping dynamic website of Rupiah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EMprint" panose="020B0503020204020204" pitchFamily="34" charset="0"/>
              </a:rPr>
              <a:t>Cepat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 panose="02040502050405020303" pitchFamily="18" charset="0"/>
              <a:ea typeface="EMprint" panose="020B0503020204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9970FEF-FAC4-6AF7-DC8D-0A78DD2ACCAC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584E6B1F-3C12-97AB-DEB4-5F0E1EBF5D6C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EA251D55-F3A5-7174-DA5C-4BE0835F673F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Background and Study Case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C1F05D38-4596-EF03-BC67-54316FADDE48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34F845BB-992C-3B29-FEA3-DF2F7987EE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38963" y="1304797"/>
            <a:ext cx="7314074" cy="379120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2296CE3-4AAE-373D-EFB7-49EC1A3A24C3}"/>
              </a:ext>
            </a:extLst>
          </p:cNvPr>
          <p:cNvSpPr txBox="1"/>
          <p:nvPr/>
        </p:nvSpPr>
        <p:spPr>
          <a:xfrm>
            <a:off x="2304383" y="5328611"/>
            <a:ext cx="75832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Project Objective: 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Perform web scraping from one of P2P lending website (</a:t>
            </a:r>
            <a:r>
              <a:rPr lang="en-US" sz="1400" dirty="0" err="1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RupiahCepat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) and load to Data Warehouse (</a:t>
            </a:r>
            <a:r>
              <a:rPr lang="en-US" sz="1400" dirty="0" err="1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BigQuery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)</a:t>
            </a:r>
            <a:endParaRPr kumimoji="0" lang="en-US" sz="14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FBD4F3-2FD4-CE79-A49F-AF4730D9B0A2}"/>
              </a:ext>
            </a:extLst>
          </p:cNvPr>
          <p:cNvGrpSpPr/>
          <p:nvPr/>
        </p:nvGrpSpPr>
        <p:grpSpPr>
          <a:xfrm>
            <a:off x="10283354" y="6470881"/>
            <a:ext cx="1736750" cy="139126"/>
            <a:chOff x="9901276" y="6498754"/>
            <a:chExt cx="1736750" cy="139126"/>
          </a:xfrm>
        </p:grpSpPr>
        <p:sp>
          <p:nvSpPr>
            <p:cNvPr id="9" name="SlideLogoText">
              <a:extLst>
                <a:ext uri="{FF2B5EF4-FFF2-40B4-BE49-F238E27FC236}">
                  <a16:creationId xmlns:a16="http://schemas.microsoft.com/office/drawing/2014/main" id="{E2BF1377-40FA-7F85-A609-E1D2FF49ED90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9901276" y="6499381"/>
              <a:ext cx="1617430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3" name="Slide Number">
              <a:extLst>
                <a:ext uri="{FF2B5EF4-FFF2-40B4-BE49-F238E27FC236}">
                  <a16:creationId xmlns:a16="http://schemas.microsoft.com/office/drawing/2014/main" id="{B0AB1C4D-F1B7-0C88-E2CE-F829889344C8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12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49728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750925-2B70-0565-AC9D-11C9D3507B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Rectangle: Rounded Corners 257">
            <a:extLst>
              <a:ext uri="{FF2B5EF4-FFF2-40B4-BE49-F238E27FC236}">
                <a16:creationId xmlns:a16="http://schemas.microsoft.com/office/drawing/2014/main" id="{7CF2F05C-94E6-3F85-9916-4B3F5F7C2D87}"/>
              </a:ext>
            </a:extLst>
          </p:cNvPr>
          <p:cNvSpPr/>
          <p:nvPr/>
        </p:nvSpPr>
        <p:spPr>
          <a:xfrm rot="16200000">
            <a:off x="8173422" y="-616302"/>
            <a:ext cx="337762" cy="4292428"/>
          </a:xfrm>
          <a:prstGeom prst="roundRect">
            <a:avLst>
              <a:gd name="adj" fmla="val 7509"/>
            </a:avLst>
          </a:prstGeom>
          <a:gradFill flip="none" rotWithShape="1">
            <a:gsLst>
              <a:gs pos="0">
                <a:srgbClr val="051C39"/>
              </a:gs>
              <a:gs pos="100000">
                <a:srgbClr val="2552E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214" name="Rectangle: Rounded Corners 213">
            <a:extLst>
              <a:ext uri="{FF2B5EF4-FFF2-40B4-BE49-F238E27FC236}">
                <a16:creationId xmlns:a16="http://schemas.microsoft.com/office/drawing/2014/main" id="{D44F30F4-EFC9-7B0E-B2D5-E3027E5032CE}"/>
              </a:ext>
            </a:extLst>
          </p:cNvPr>
          <p:cNvSpPr/>
          <p:nvPr/>
        </p:nvSpPr>
        <p:spPr>
          <a:xfrm>
            <a:off x="6200372" y="1755619"/>
            <a:ext cx="4288145" cy="2358044"/>
          </a:xfrm>
          <a:prstGeom prst="roundRect">
            <a:avLst>
              <a:gd name="adj" fmla="val 389"/>
            </a:avLst>
          </a:prstGeom>
          <a:solidFill>
            <a:srgbClr val="FBFBFB"/>
          </a:solidFill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355BAE7-E6E0-633F-C37D-E467B012E1B4}"/>
              </a:ext>
            </a:extLst>
          </p:cNvPr>
          <p:cNvGrpSpPr/>
          <p:nvPr/>
        </p:nvGrpSpPr>
        <p:grpSpPr>
          <a:xfrm>
            <a:off x="10191754" y="6457114"/>
            <a:ext cx="1751177" cy="139126"/>
            <a:chOff x="9886849" y="6498754"/>
            <a:chExt cx="1751177" cy="139126"/>
          </a:xfrm>
        </p:grpSpPr>
        <p:sp>
          <p:nvSpPr>
            <p:cNvPr id="5" name="SlideLogoText">
              <a:extLst>
                <a:ext uri="{FF2B5EF4-FFF2-40B4-BE49-F238E27FC236}">
                  <a16:creationId xmlns:a16="http://schemas.microsoft.com/office/drawing/2014/main" id="{43DC6657-63CE-ED1C-36FB-FA6F29245E70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9886849" y="6499381"/>
              <a:ext cx="164628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 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6" name="Slide Number">
              <a:extLst>
                <a:ext uri="{FF2B5EF4-FFF2-40B4-BE49-F238E27FC236}">
                  <a16:creationId xmlns:a16="http://schemas.microsoft.com/office/drawing/2014/main" id="{3395793B-4EAD-AB29-B862-906936058E25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13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8C529E10-0F76-310A-58AB-6957A65BA9D5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FA99570-F582-60E9-E416-D9D7C31889DA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C7D69B05-1CDD-C5A9-D33E-ECB4EB4E3BA6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A0FFEF99-AA45-63EB-D868-4625317B00CC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evelopment Cycle and Process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C6AB080-47FE-FDC7-601A-E351C0074502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18B882B4-40C8-DC84-30B1-0A7A0054E19C}"/>
              </a:ext>
            </a:extLst>
          </p:cNvPr>
          <p:cNvSpPr txBox="1"/>
          <p:nvPr/>
        </p:nvSpPr>
        <p:spPr>
          <a:xfrm>
            <a:off x="206943" y="478058"/>
            <a:ext cx="119850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Website scraping deliverable: Design Pipeline Architecture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BF82E93-3FD3-0D31-7283-F0FBB4634F78}"/>
              </a:ext>
            </a:extLst>
          </p:cNvPr>
          <p:cNvCxnSpPr>
            <a:cxnSpLocks/>
          </p:cNvCxnSpPr>
          <p:nvPr/>
        </p:nvCxnSpPr>
        <p:spPr>
          <a:xfrm>
            <a:off x="300998" y="939723"/>
            <a:ext cx="11450129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Arrow Connector 219">
            <a:extLst>
              <a:ext uri="{FF2B5EF4-FFF2-40B4-BE49-F238E27FC236}">
                <a16:creationId xmlns:a16="http://schemas.microsoft.com/office/drawing/2014/main" id="{26255B29-4B85-DE0D-2C7E-4AF5B2D7EB85}"/>
              </a:ext>
            </a:extLst>
          </p:cNvPr>
          <p:cNvCxnSpPr>
            <a:cxnSpLocks/>
          </p:cNvCxnSpPr>
          <p:nvPr/>
        </p:nvCxnSpPr>
        <p:spPr>
          <a:xfrm>
            <a:off x="1288235" y="2940172"/>
            <a:ext cx="1205452" cy="0"/>
          </a:xfrm>
          <a:prstGeom prst="straightConnector1">
            <a:avLst/>
          </a:prstGeom>
          <a:ln>
            <a:solidFill>
              <a:srgbClr val="2552E3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2" name="Oval 221">
            <a:extLst>
              <a:ext uri="{FF2B5EF4-FFF2-40B4-BE49-F238E27FC236}">
                <a16:creationId xmlns:a16="http://schemas.microsoft.com/office/drawing/2014/main" id="{A3E13DAA-563F-A157-15A0-101685CEE329}"/>
              </a:ext>
            </a:extLst>
          </p:cNvPr>
          <p:cNvSpPr/>
          <p:nvPr/>
        </p:nvSpPr>
        <p:spPr>
          <a:xfrm>
            <a:off x="1589749" y="2782003"/>
            <a:ext cx="314585" cy="314585"/>
          </a:xfrm>
          <a:prstGeom prst="ellipse">
            <a:avLst/>
          </a:prstGeom>
          <a:gradFill>
            <a:gsLst>
              <a:gs pos="44000">
                <a:srgbClr val="2552E2"/>
              </a:gs>
              <a:gs pos="100000">
                <a:srgbClr val="061E3F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eorgia" panose="02040502050405020303" pitchFamily="18" charset="0"/>
                <a:cs typeface="Arial" panose="020B0604020202020204" pitchFamily="34" charset="0"/>
              </a:rPr>
              <a:t>&gt;</a:t>
            </a:r>
            <a:endParaRPr lang="en-ID" sz="1400" dirty="0"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60F5D647-7803-D7B8-DE84-FEF942344A9D}"/>
              </a:ext>
            </a:extLst>
          </p:cNvPr>
          <p:cNvGrpSpPr/>
          <p:nvPr/>
        </p:nvGrpSpPr>
        <p:grpSpPr>
          <a:xfrm>
            <a:off x="322344" y="978778"/>
            <a:ext cx="1386289" cy="261610"/>
            <a:chOff x="322344" y="6175521"/>
            <a:chExt cx="1386289" cy="261610"/>
          </a:xfrm>
        </p:grpSpPr>
        <p:cxnSp>
          <p:nvCxnSpPr>
            <p:cNvPr id="401" name="Straight Arrow Connector 400">
              <a:extLst>
                <a:ext uri="{FF2B5EF4-FFF2-40B4-BE49-F238E27FC236}">
                  <a16:creationId xmlns:a16="http://schemas.microsoft.com/office/drawing/2014/main" id="{DEB36C97-EF29-AB7F-20A6-64B5EDBB0684}"/>
                </a:ext>
              </a:extLst>
            </p:cNvPr>
            <p:cNvCxnSpPr>
              <a:cxnSpLocks/>
            </p:cNvCxnSpPr>
            <p:nvPr/>
          </p:nvCxnSpPr>
          <p:spPr>
            <a:xfrm>
              <a:off x="322344" y="6303408"/>
              <a:ext cx="546441" cy="0"/>
            </a:xfrm>
            <a:prstGeom prst="straightConnector1">
              <a:avLst/>
            </a:prstGeom>
            <a:ln>
              <a:solidFill>
                <a:srgbClr val="2552E3"/>
              </a:solidFill>
              <a:prstDash val="dash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96" name="Oval 395">
              <a:extLst>
                <a:ext uri="{FF2B5EF4-FFF2-40B4-BE49-F238E27FC236}">
                  <a16:creationId xmlns:a16="http://schemas.microsoft.com/office/drawing/2014/main" id="{C4463831-1B14-F925-133D-636448B97BE6}"/>
                </a:ext>
              </a:extLst>
            </p:cNvPr>
            <p:cNvSpPr/>
            <p:nvPr/>
          </p:nvSpPr>
          <p:spPr>
            <a:xfrm>
              <a:off x="478000" y="6201976"/>
              <a:ext cx="219389" cy="219389"/>
            </a:xfrm>
            <a:prstGeom prst="ellipse">
              <a:avLst/>
            </a:prstGeom>
            <a:gradFill>
              <a:gsLst>
                <a:gs pos="44000">
                  <a:srgbClr val="2552E2"/>
                </a:gs>
                <a:gs pos="100000">
                  <a:srgbClr val="061E3F"/>
                </a:gs>
              </a:gsLst>
              <a:path path="circle">
                <a:fillToRect r="100000" b="100000"/>
              </a:path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Georgia" panose="02040502050405020303" pitchFamily="18" charset="0"/>
                  <a:cs typeface="Arial" panose="020B0604020202020204" pitchFamily="34" charset="0"/>
                </a:rPr>
                <a:t>&gt;</a:t>
              </a:r>
              <a:endParaRPr lang="en-ID" sz="1400" dirty="0">
                <a:latin typeface="Georgia" panose="02040502050405020303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406" name="TextBox 405">
              <a:extLst>
                <a:ext uri="{FF2B5EF4-FFF2-40B4-BE49-F238E27FC236}">
                  <a16:creationId xmlns:a16="http://schemas.microsoft.com/office/drawing/2014/main" id="{EBD1F8CA-1954-29DD-9B36-599A06A69540}"/>
                </a:ext>
              </a:extLst>
            </p:cNvPr>
            <p:cNvSpPr txBox="1"/>
            <p:nvPr/>
          </p:nvSpPr>
          <p:spPr>
            <a:xfrm>
              <a:off x="755528" y="6175521"/>
              <a:ext cx="95310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Data flow</a:t>
              </a:r>
              <a:endParaRPr lang="en-ID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E099CA32-5508-5E5F-09B5-222BCD2CF01B}"/>
              </a:ext>
            </a:extLst>
          </p:cNvPr>
          <p:cNvGrpSpPr/>
          <p:nvPr/>
        </p:nvGrpSpPr>
        <p:grpSpPr>
          <a:xfrm>
            <a:off x="1623103" y="972965"/>
            <a:ext cx="1386289" cy="261610"/>
            <a:chOff x="322344" y="6460961"/>
            <a:chExt cx="1386289" cy="261610"/>
          </a:xfrm>
        </p:grpSpPr>
        <p:cxnSp>
          <p:nvCxnSpPr>
            <p:cNvPr id="408" name="Straight Connector 68">
              <a:extLst>
                <a:ext uri="{FF2B5EF4-FFF2-40B4-BE49-F238E27FC236}">
                  <a16:creationId xmlns:a16="http://schemas.microsoft.com/office/drawing/2014/main" id="{0CF0535B-58EC-4C18-9FEA-C4E620E9258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22344" y="6591766"/>
              <a:ext cx="513525" cy="0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14" name="TextBox 413">
              <a:extLst>
                <a:ext uri="{FF2B5EF4-FFF2-40B4-BE49-F238E27FC236}">
                  <a16:creationId xmlns:a16="http://schemas.microsoft.com/office/drawing/2014/main" id="{B829226D-6DB3-618E-7C68-66A81D1AE5FC}"/>
                </a:ext>
              </a:extLst>
            </p:cNvPr>
            <p:cNvSpPr txBox="1"/>
            <p:nvPr/>
          </p:nvSpPr>
          <p:spPr>
            <a:xfrm>
              <a:off x="755528" y="6460961"/>
              <a:ext cx="95310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Tech Stack</a:t>
              </a:r>
              <a:endParaRPr lang="en-ID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D0D9911B-E50B-E93A-E9FB-6128B57404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6943" y="1621400"/>
            <a:ext cx="1976576" cy="262648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AFBF68F-9DEB-BE2D-0B4A-11ACCC6B462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04422" y="1698794"/>
            <a:ext cx="1859030" cy="248228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346642BD-8293-AA9F-7C73-57298ECDA7E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26508" y="1698793"/>
            <a:ext cx="2283286" cy="2482288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29A89304-97D3-AD5B-1E4A-F60520B36E3F}"/>
              </a:ext>
            </a:extLst>
          </p:cNvPr>
          <p:cNvGrpSpPr/>
          <p:nvPr/>
        </p:nvGrpSpPr>
        <p:grpSpPr>
          <a:xfrm>
            <a:off x="280940" y="1367318"/>
            <a:ext cx="5815061" cy="337763"/>
            <a:chOff x="280940" y="1538534"/>
            <a:chExt cx="5815061" cy="337763"/>
          </a:xfrm>
        </p:grpSpPr>
        <p:sp>
          <p:nvSpPr>
            <p:cNvPr id="261" name="Rectangle: Rounded Corners 260">
              <a:extLst>
                <a:ext uri="{FF2B5EF4-FFF2-40B4-BE49-F238E27FC236}">
                  <a16:creationId xmlns:a16="http://schemas.microsoft.com/office/drawing/2014/main" id="{4AC67C5D-3057-D761-AB62-C8B29BBE5FB4}"/>
                </a:ext>
              </a:extLst>
            </p:cNvPr>
            <p:cNvSpPr/>
            <p:nvPr/>
          </p:nvSpPr>
          <p:spPr>
            <a:xfrm rot="16200000">
              <a:off x="3019589" y="-1200115"/>
              <a:ext cx="337763" cy="5815061"/>
            </a:xfrm>
            <a:prstGeom prst="roundRect">
              <a:avLst>
                <a:gd name="adj" fmla="val 7509"/>
              </a:avLst>
            </a:prstGeom>
            <a:gradFill flip="none" rotWithShape="0">
              <a:gsLst>
                <a:gs pos="29000">
                  <a:srgbClr val="051C39"/>
                </a:gs>
                <a:gs pos="100000">
                  <a:srgbClr val="2552E3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91428F-8587-31B8-9666-04711073D392}"/>
                </a:ext>
              </a:extLst>
            </p:cNvPr>
            <p:cNvSpPr txBox="1"/>
            <p:nvPr/>
          </p:nvSpPr>
          <p:spPr>
            <a:xfrm>
              <a:off x="1201265" y="1568520"/>
              <a:ext cx="488716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Source: </a:t>
              </a:r>
              <a:r>
                <a:rPr 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piah </a:t>
              </a:r>
              <a:r>
                <a:rPr lang="en-US" sz="14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epat’s</a:t>
              </a:r>
              <a:r>
                <a:rPr 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website statistic</a:t>
              </a:r>
              <a:endParaRPr lang="en-ID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20E0665-4BF5-9895-9CCF-C1055AD03541}"/>
              </a:ext>
            </a:extLst>
          </p:cNvPr>
          <p:cNvGrpSpPr/>
          <p:nvPr/>
        </p:nvGrpSpPr>
        <p:grpSpPr>
          <a:xfrm>
            <a:off x="7792137" y="2260271"/>
            <a:ext cx="1083811" cy="1348740"/>
            <a:chOff x="7632049" y="2034578"/>
            <a:chExt cx="1083811" cy="1930203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2C0FED33-DD1F-AFF0-17C7-8776B0C681EB}"/>
                </a:ext>
              </a:extLst>
            </p:cNvPr>
            <p:cNvSpPr/>
            <p:nvPr/>
          </p:nvSpPr>
          <p:spPr>
            <a:xfrm>
              <a:off x="7632049" y="2034578"/>
              <a:ext cx="1083811" cy="1930203"/>
            </a:xfrm>
            <a:prstGeom prst="roundRect">
              <a:avLst>
                <a:gd name="adj" fmla="val 7509"/>
              </a:avLst>
            </a:prstGeom>
            <a:gradFill flip="none" rotWithShape="1">
              <a:gsLst>
                <a:gs pos="0">
                  <a:srgbClr val="051C39"/>
                </a:gs>
                <a:gs pos="100000">
                  <a:srgbClr val="2552E3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dirty="0"/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34B06BEB-0D4A-A511-E21D-69D3ACB75B49}"/>
                </a:ext>
              </a:extLst>
            </p:cNvPr>
            <p:cNvSpPr/>
            <p:nvPr/>
          </p:nvSpPr>
          <p:spPr>
            <a:xfrm>
              <a:off x="7669954" y="2066958"/>
              <a:ext cx="1008000" cy="1867733"/>
            </a:xfrm>
            <a:prstGeom prst="roundRect">
              <a:avLst>
                <a:gd name="adj" fmla="val 7509"/>
              </a:avLst>
            </a:prstGeom>
            <a:solidFill>
              <a:schemeClr val="bg1"/>
            </a:solidFill>
            <a:ln>
              <a:noFill/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dirty="0"/>
            </a:p>
          </p:txBody>
        </p: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3A58049F-E294-7644-CEE6-E7538B6F255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1959" y="2490471"/>
            <a:ext cx="444170" cy="44417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F28FEAA4-193F-4400-81F6-F1C8A752FBBF}"/>
              </a:ext>
            </a:extLst>
          </p:cNvPr>
          <p:cNvSpPr txBox="1"/>
          <p:nvPr/>
        </p:nvSpPr>
        <p:spPr>
          <a:xfrm>
            <a:off x="7897903" y="2934641"/>
            <a:ext cx="87228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err="1">
                <a:latin typeface="Arial" panose="020B0604020202020204" pitchFamily="34" charset="0"/>
                <a:cs typeface="Arial" panose="020B0604020202020204" pitchFamily="34" charset="0"/>
              </a:rPr>
              <a:t>Rupiahcepat_stats</a:t>
            </a:r>
            <a:endParaRPr lang="en-ID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8D89F42E-BAD6-54F6-53A7-9479798F1232}"/>
              </a:ext>
            </a:extLst>
          </p:cNvPr>
          <p:cNvCxnSpPr>
            <a:cxnSpLocks/>
            <a:stCxn id="22" idx="3"/>
            <a:endCxn id="27" idx="1"/>
          </p:cNvCxnSpPr>
          <p:nvPr/>
        </p:nvCxnSpPr>
        <p:spPr>
          <a:xfrm flipV="1">
            <a:off x="6109794" y="2934641"/>
            <a:ext cx="1682343" cy="5296"/>
          </a:xfrm>
          <a:prstGeom prst="straightConnector1">
            <a:avLst/>
          </a:prstGeom>
          <a:ln>
            <a:solidFill>
              <a:srgbClr val="2552E3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Oval 30">
            <a:extLst>
              <a:ext uri="{FF2B5EF4-FFF2-40B4-BE49-F238E27FC236}">
                <a16:creationId xmlns:a16="http://schemas.microsoft.com/office/drawing/2014/main" id="{6E87898C-AB4F-EEC9-F2FC-EAAA242F0610}"/>
              </a:ext>
            </a:extLst>
          </p:cNvPr>
          <p:cNvSpPr/>
          <p:nvPr/>
        </p:nvSpPr>
        <p:spPr>
          <a:xfrm>
            <a:off x="6636380" y="2782003"/>
            <a:ext cx="314585" cy="314585"/>
          </a:xfrm>
          <a:prstGeom prst="ellipse">
            <a:avLst/>
          </a:prstGeom>
          <a:gradFill>
            <a:gsLst>
              <a:gs pos="44000">
                <a:srgbClr val="2552E2"/>
              </a:gs>
              <a:gs pos="100000">
                <a:srgbClr val="061E3F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eorgia" panose="02040502050405020303" pitchFamily="18" charset="0"/>
                <a:cs typeface="Arial" panose="020B0604020202020204" pitchFamily="34" charset="0"/>
              </a:rPr>
              <a:t>&gt;</a:t>
            </a:r>
            <a:endParaRPr lang="en-ID" sz="1400" dirty="0"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C4C0E2D-A876-DDC6-0531-B0B1D89BA20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9595" y="1367454"/>
            <a:ext cx="321683" cy="321683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8D65D302-F088-C5D5-912B-1C86BE2D5B7F}"/>
              </a:ext>
            </a:extLst>
          </p:cNvPr>
          <p:cNvSpPr txBox="1"/>
          <p:nvPr/>
        </p:nvSpPr>
        <p:spPr>
          <a:xfrm>
            <a:off x="6631278" y="1359562"/>
            <a:ext cx="48871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Warehouse: </a:t>
            </a: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ogle’s </a:t>
            </a:r>
            <a:r>
              <a:rPr 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gQuery</a:t>
            </a:r>
            <a:endParaRPr lang="en-ID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6BAD919-0379-3195-FEE3-748AF9D7A8D2}"/>
              </a:ext>
            </a:extLst>
          </p:cNvPr>
          <p:cNvSpPr txBox="1"/>
          <p:nvPr/>
        </p:nvSpPr>
        <p:spPr>
          <a:xfrm>
            <a:off x="7048230" y="1823990"/>
            <a:ext cx="25716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Facts and Dim Layer</a:t>
            </a:r>
          </a:p>
          <a:p>
            <a:pPr algn="ctr"/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Dataset: </a:t>
            </a:r>
            <a:r>
              <a:rPr lang="en-US" sz="1100" dirty="0" err="1">
                <a:latin typeface="Arial" panose="020B0604020202020204" pitchFamily="34" charset="0"/>
                <a:cs typeface="Arial" panose="020B0604020202020204" pitchFamily="34" charset="0"/>
              </a:rPr>
              <a:t>rizky_dwh_hailing_source</a:t>
            </a:r>
            <a:endParaRPr lang="en-ID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EC839E54-1169-A2B0-BF2C-5198383BB387}"/>
              </a:ext>
            </a:extLst>
          </p:cNvPr>
          <p:cNvSpPr/>
          <p:nvPr/>
        </p:nvSpPr>
        <p:spPr>
          <a:xfrm>
            <a:off x="393724" y="4952421"/>
            <a:ext cx="964731" cy="420043"/>
          </a:xfrm>
          <a:prstGeom prst="ellipse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EE7AE327-365D-F656-A780-7A19AFD7BEA1}"/>
              </a:ext>
            </a:extLst>
          </p:cNvPr>
          <p:cNvSpPr/>
          <p:nvPr/>
        </p:nvSpPr>
        <p:spPr>
          <a:xfrm>
            <a:off x="1708635" y="4954733"/>
            <a:ext cx="1077957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sure if table exists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Diamond 39">
            <a:extLst>
              <a:ext uri="{FF2B5EF4-FFF2-40B4-BE49-F238E27FC236}">
                <a16:creationId xmlns:a16="http://schemas.microsoft.com/office/drawing/2014/main" id="{81700E7A-1A53-7851-606C-9BA0CFA66A7B}"/>
              </a:ext>
            </a:extLst>
          </p:cNvPr>
          <p:cNvSpPr/>
          <p:nvPr/>
        </p:nvSpPr>
        <p:spPr>
          <a:xfrm>
            <a:off x="3136772" y="4900753"/>
            <a:ext cx="1466241" cy="52337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le found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C5C61D26-6932-C8EF-213C-53C5713E4EE3}"/>
              </a:ext>
            </a:extLst>
          </p:cNvPr>
          <p:cNvSpPr/>
          <p:nvPr/>
        </p:nvSpPr>
        <p:spPr>
          <a:xfrm>
            <a:off x="4968153" y="4954733"/>
            <a:ext cx="1077957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table in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gQuery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86F3182A-58E9-EAE8-6FAA-364FD3BAF857}"/>
              </a:ext>
            </a:extLst>
          </p:cNvPr>
          <p:cNvSpPr/>
          <p:nvPr/>
        </p:nvSpPr>
        <p:spPr>
          <a:xfrm>
            <a:off x="6470438" y="4954733"/>
            <a:ext cx="1528255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 remote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driver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8C996831-35EF-C761-75BE-25B716A4C886}"/>
              </a:ext>
            </a:extLst>
          </p:cNvPr>
          <p:cNvSpPr/>
          <p:nvPr/>
        </p:nvSpPr>
        <p:spPr>
          <a:xfrm>
            <a:off x="8475085" y="4954733"/>
            <a:ext cx="1528255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 element and try fetching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Diamond 44">
            <a:extLst>
              <a:ext uri="{FF2B5EF4-FFF2-40B4-BE49-F238E27FC236}">
                <a16:creationId xmlns:a16="http://schemas.microsoft.com/office/drawing/2014/main" id="{0BCC9E06-4680-1D0D-6FF6-FCD2F1DB01A5}"/>
              </a:ext>
            </a:extLst>
          </p:cNvPr>
          <p:cNvSpPr/>
          <p:nvPr/>
        </p:nvSpPr>
        <p:spPr>
          <a:xfrm>
            <a:off x="10289764" y="4900753"/>
            <a:ext cx="1466241" cy="52337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ment found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25E26018-C4DC-6FFA-2DCC-10B984FA828A}"/>
              </a:ext>
            </a:extLst>
          </p:cNvPr>
          <p:cNvGrpSpPr/>
          <p:nvPr/>
        </p:nvGrpSpPr>
        <p:grpSpPr>
          <a:xfrm>
            <a:off x="10760302" y="4398915"/>
            <a:ext cx="509191" cy="327579"/>
            <a:chOff x="1834931" y="5649539"/>
            <a:chExt cx="596172" cy="383537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317E89BA-72AC-C325-EFC7-CBB7377E67FA}"/>
                </a:ext>
              </a:extLst>
            </p:cNvPr>
            <p:cNvSpPr/>
            <p:nvPr/>
          </p:nvSpPr>
          <p:spPr>
            <a:xfrm>
              <a:off x="1834931" y="5649539"/>
              <a:ext cx="596172" cy="378371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C91FC524-96A9-80F4-9364-54C807D0A2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5265" y="5654705"/>
              <a:ext cx="504107" cy="378371"/>
            </a:xfrm>
            <a:prstGeom prst="rect">
              <a:avLst/>
            </a:prstGeom>
          </p:spPr>
        </p:pic>
      </p:grp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FF904918-DE88-91C2-0CCC-DD36D796F418}"/>
              </a:ext>
            </a:extLst>
          </p:cNvPr>
          <p:cNvSpPr/>
          <p:nvPr/>
        </p:nvSpPr>
        <p:spPr>
          <a:xfrm>
            <a:off x="10258757" y="5794801"/>
            <a:ext cx="1528255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p data to column headers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E4CCF87E-9960-8BF1-5B59-746875408B16}"/>
              </a:ext>
            </a:extLst>
          </p:cNvPr>
          <p:cNvSpPr/>
          <p:nvPr/>
        </p:nvSpPr>
        <p:spPr>
          <a:xfrm>
            <a:off x="8475085" y="5794801"/>
            <a:ext cx="1528255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urn as DF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1F8B3CC8-9F33-961B-1C69-E6BF64C64F43}"/>
              </a:ext>
            </a:extLst>
          </p:cNvPr>
          <p:cNvSpPr/>
          <p:nvPr/>
        </p:nvSpPr>
        <p:spPr>
          <a:xfrm>
            <a:off x="6691413" y="5794801"/>
            <a:ext cx="1528255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ad data to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ging table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BQ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65776725-1D7E-6EB3-7DB6-487539FFE262}"/>
              </a:ext>
            </a:extLst>
          </p:cNvPr>
          <p:cNvSpPr/>
          <p:nvPr/>
        </p:nvSpPr>
        <p:spPr>
          <a:xfrm>
            <a:off x="4811889" y="5794801"/>
            <a:ext cx="1528255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ge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ging table 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get table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095C78B3-940A-0CDF-7281-EADBC610A2B4}"/>
              </a:ext>
            </a:extLst>
          </p:cNvPr>
          <p:cNvSpPr/>
          <p:nvPr/>
        </p:nvSpPr>
        <p:spPr>
          <a:xfrm>
            <a:off x="3008055" y="5794801"/>
            <a:ext cx="1528255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staging table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295EAD86-0B44-E195-6D60-E7D1CD1ABCA3}"/>
              </a:ext>
            </a:extLst>
          </p:cNvPr>
          <p:cNvSpPr/>
          <p:nvPr/>
        </p:nvSpPr>
        <p:spPr>
          <a:xfrm>
            <a:off x="1697584" y="5794796"/>
            <a:ext cx="964731" cy="420043"/>
          </a:xfrm>
          <a:prstGeom prst="ellipse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F34827AD-CCA5-04BC-8536-454F0B86967B}"/>
              </a:ext>
            </a:extLst>
          </p:cNvPr>
          <p:cNvCxnSpPr>
            <a:cxnSpLocks/>
            <a:stCxn id="38" idx="6"/>
            <a:endCxn id="39" idx="1"/>
          </p:cNvCxnSpPr>
          <p:nvPr/>
        </p:nvCxnSpPr>
        <p:spPr>
          <a:xfrm>
            <a:off x="1358455" y="5162443"/>
            <a:ext cx="350180" cy="2306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FF0EC429-BF4B-91AB-89AC-41575BB60B63}"/>
              </a:ext>
            </a:extLst>
          </p:cNvPr>
          <p:cNvCxnSpPr>
            <a:cxnSpLocks/>
            <a:stCxn id="39" idx="3"/>
            <a:endCxn id="40" idx="1"/>
          </p:cNvCxnSpPr>
          <p:nvPr/>
        </p:nvCxnSpPr>
        <p:spPr>
          <a:xfrm flipV="1">
            <a:off x="2786592" y="5162442"/>
            <a:ext cx="350180" cy="2307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3E942050-25B9-70E8-E6F5-5681762C4344}"/>
              </a:ext>
            </a:extLst>
          </p:cNvPr>
          <p:cNvCxnSpPr>
            <a:cxnSpLocks/>
            <a:stCxn id="40" idx="3"/>
            <a:endCxn id="41" idx="1"/>
          </p:cNvCxnSpPr>
          <p:nvPr/>
        </p:nvCxnSpPr>
        <p:spPr>
          <a:xfrm>
            <a:off x="4603013" y="5162442"/>
            <a:ext cx="365140" cy="2307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1713E118-1D91-C0E6-FA6C-166F2E502352}"/>
              </a:ext>
            </a:extLst>
          </p:cNvPr>
          <p:cNvCxnSpPr>
            <a:cxnSpLocks/>
            <a:stCxn id="41" idx="3"/>
            <a:endCxn id="42" idx="1"/>
          </p:cNvCxnSpPr>
          <p:nvPr/>
        </p:nvCxnSpPr>
        <p:spPr>
          <a:xfrm>
            <a:off x="6046110" y="5164749"/>
            <a:ext cx="424328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FA9D4D04-1B71-DE55-3818-67A1F52C8DD4}"/>
              </a:ext>
            </a:extLst>
          </p:cNvPr>
          <p:cNvCxnSpPr>
            <a:cxnSpLocks/>
            <a:stCxn id="42" idx="3"/>
            <a:endCxn id="43" idx="1"/>
          </p:cNvCxnSpPr>
          <p:nvPr/>
        </p:nvCxnSpPr>
        <p:spPr>
          <a:xfrm>
            <a:off x="7998693" y="5164749"/>
            <a:ext cx="476392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BEE28AC1-1E1B-0924-153B-8B2AB2E5F583}"/>
              </a:ext>
            </a:extLst>
          </p:cNvPr>
          <p:cNvCxnSpPr>
            <a:cxnSpLocks/>
            <a:stCxn id="43" idx="3"/>
            <a:endCxn id="45" idx="1"/>
          </p:cNvCxnSpPr>
          <p:nvPr/>
        </p:nvCxnSpPr>
        <p:spPr>
          <a:xfrm flipV="1">
            <a:off x="10003340" y="5162442"/>
            <a:ext cx="286424" cy="2307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E420370C-0668-76FA-58D5-3C6717871F52}"/>
              </a:ext>
            </a:extLst>
          </p:cNvPr>
          <p:cNvCxnSpPr>
            <a:cxnSpLocks/>
            <a:stCxn id="45" idx="0"/>
            <a:endCxn id="48" idx="2"/>
          </p:cNvCxnSpPr>
          <p:nvPr/>
        </p:nvCxnSpPr>
        <p:spPr>
          <a:xfrm flipH="1" flipV="1">
            <a:off x="11018571" y="4726494"/>
            <a:ext cx="4314" cy="174259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ED2B0CEE-DA42-39AA-D087-F4ECDDBF50B0}"/>
              </a:ext>
            </a:extLst>
          </p:cNvPr>
          <p:cNvCxnSpPr>
            <a:cxnSpLocks/>
            <a:stCxn id="45" idx="2"/>
            <a:endCxn id="49" idx="0"/>
          </p:cNvCxnSpPr>
          <p:nvPr/>
        </p:nvCxnSpPr>
        <p:spPr>
          <a:xfrm>
            <a:off x="11022885" y="5424130"/>
            <a:ext cx="0" cy="37067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BB448F0A-F161-683E-B550-E1F001114B44}"/>
              </a:ext>
            </a:extLst>
          </p:cNvPr>
          <p:cNvCxnSpPr>
            <a:cxnSpLocks/>
          </p:cNvCxnSpPr>
          <p:nvPr/>
        </p:nvCxnSpPr>
        <p:spPr>
          <a:xfrm flipH="1">
            <a:off x="10003340" y="6002865"/>
            <a:ext cx="244149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4FDF2640-0941-DF5E-25C3-E94BC3CF74B8}"/>
              </a:ext>
            </a:extLst>
          </p:cNvPr>
          <p:cNvCxnSpPr>
            <a:cxnSpLocks/>
            <a:endCxn id="51" idx="3"/>
          </p:cNvCxnSpPr>
          <p:nvPr/>
        </p:nvCxnSpPr>
        <p:spPr>
          <a:xfrm flipH="1">
            <a:off x="8219668" y="6004817"/>
            <a:ext cx="255417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66481879-C0D1-ECE8-BE91-A4FC3C3B1DB2}"/>
              </a:ext>
            </a:extLst>
          </p:cNvPr>
          <p:cNvCxnSpPr>
            <a:cxnSpLocks/>
            <a:stCxn id="51" idx="1"/>
          </p:cNvCxnSpPr>
          <p:nvPr/>
        </p:nvCxnSpPr>
        <p:spPr>
          <a:xfrm flipH="1">
            <a:off x="6340144" y="6004817"/>
            <a:ext cx="351269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5D148C43-DCB3-7823-BCA8-EE6AB302367F}"/>
              </a:ext>
            </a:extLst>
          </p:cNvPr>
          <p:cNvCxnSpPr>
            <a:cxnSpLocks/>
          </p:cNvCxnSpPr>
          <p:nvPr/>
        </p:nvCxnSpPr>
        <p:spPr>
          <a:xfrm flipH="1">
            <a:off x="4536310" y="6004817"/>
            <a:ext cx="275579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B240C333-E4C6-B1DC-5ABC-23E1B13A7CCB}"/>
              </a:ext>
            </a:extLst>
          </p:cNvPr>
          <p:cNvCxnSpPr>
            <a:cxnSpLocks/>
          </p:cNvCxnSpPr>
          <p:nvPr/>
        </p:nvCxnSpPr>
        <p:spPr>
          <a:xfrm flipH="1">
            <a:off x="2662315" y="5996676"/>
            <a:ext cx="345740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08" name="Oval 107">
            <a:extLst>
              <a:ext uri="{FF2B5EF4-FFF2-40B4-BE49-F238E27FC236}">
                <a16:creationId xmlns:a16="http://schemas.microsoft.com/office/drawing/2014/main" id="{9E1FD526-6B45-0659-CDA2-EAFF46F4F91D}"/>
              </a:ext>
            </a:extLst>
          </p:cNvPr>
          <p:cNvSpPr/>
          <p:nvPr/>
        </p:nvSpPr>
        <p:spPr>
          <a:xfrm>
            <a:off x="11231499" y="4725822"/>
            <a:ext cx="286953" cy="286953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B663EA17-1339-3AF7-DB5A-952A6BC3247D}"/>
              </a:ext>
            </a:extLst>
          </p:cNvPr>
          <p:cNvSpPr/>
          <p:nvPr/>
        </p:nvSpPr>
        <p:spPr>
          <a:xfrm>
            <a:off x="10879407" y="5465989"/>
            <a:ext cx="286953" cy="28695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0" name="Straight Arrow Connector 309">
            <a:extLst>
              <a:ext uri="{FF2B5EF4-FFF2-40B4-BE49-F238E27FC236}">
                <a16:creationId xmlns:a16="http://schemas.microsoft.com/office/drawing/2014/main" id="{986458EC-47F0-63BC-8ACE-855A5575AC27}"/>
              </a:ext>
            </a:extLst>
          </p:cNvPr>
          <p:cNvCxnSpPr>
            <a:cxnSpLocks/>
            <a:stCxn id="40" idx="0"/>
            <a:endCxn id="42" idx="0"/>
          </p:cNvCxnSpPr>
          <p:nvPr/>
        </p:nvCxnSpPr>
        <p:spPr>
          <a:xfrm rot="16200000" flipH="1">
            <a:off x="5525239" y="3245407"/>
            <a:ext cx="53980" cy="3364673"/>
          </a:xfrm>
          <a:prstGeom prst="bentConnector3">
            <a:avLst>
              <a:gd name="adj1" fmla="val -423490"/>
            </a:avLst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3" name="Oval 112">
            <a:extLst>
              <a:ext uri="{FF2B5EF4-FFF2-40B4-BE49-F238E27FC236}">
                <a16:creationId xmlns:a16="http://schemas.microsoft.com/office/drawing/2014/main" id="{B1FB300A-F9EE-ACF9-8C69-0A24B911F3FC}"/>
              </a:ext>
            </a:extLst>
          </p:cNvPr>
          <p:cNvSpPr/>
          <p:nvPr/>
        </p:nvSpPr>
        <p:spPr>
          <a:xfrm>
            <a:off x="5533734" y="4534697"/>
            <a:ext cx="286953" cy="28695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D23F0354-1A43-3594-E072-78EF7EB44EC7}"/>
              </a:ext>
            </a:extLst>
          </p:cNvPr>
          <p:cNvSpPr/>
          <p:nvPr/>
        </p:nvSpPr>
        <p:spPr>
          <a:xfrm>
            <a:off x="4620356" y="4970155"/>
            <a:ext cx="286953" cy="286953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DC8A691-5185-860F-84AA-0E44A4BFCA1C}"/>
              </a:ext>
            </a:extLst>
          </p:cNvPr>
          <p:cNvSpPr/>
          <p:nvPr/>
        </p:nvSpPr>
        <p:spPr>
          <a:xfrm>
            <a:off x="188223" y="4484331"/>
            <a:ext cx="2061138" cy="337764"/>
          </a:xfrm>
          <a:prstGeom prst="roundRect">
            <a:avLst>
              <a:gd name="adj" fmla="val 7509"/>
            </a:avLst>
          </a:prstGeom>
          <a:noFill/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ion logic flow</a:t>
            </a:r>
            <a:endParaRPr lang="en-ID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8D4822C-DA18-64AD-461E-D26750095DA9}"/>
              </a:ext>
            </a:extLst>
          </p:cNvPr>
          <p:cNvSpPr/>
          <p:nvPr/>
        </p:nvSpPr>
        <p:spPr>
          <a:xfrm>
            <a:off x="10708392" y="1416705"/>
            <a:ext cx="1333162" cy="337764"/>
          </a:xfrm>
          <a:prstGeom prst="roundRect">
            <a:avLst>
              <a:gd name="adj" fmla="val 7509"/>
            </a:avLst>
          </a:prstGeom>
          <a:noFill/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arks:</a:t>
            </a:r>
            <a:endParaRPr lang="en-ID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6A0AD0D-1608-FB00-3675-BDC71F988EDC}"/>
              </a:ext>
            </a:extLst>
          </p:cNvPr>
          <p:cNvSpPr txBox="1"/>
          <p:nvPr/>
        </p:nvSpPr>
        <p:spPr>
          <a:xfrm>
            <a:off x="10760300" y="1843236"/>
            <a:ext cx="128125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1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ata Processing</a:t>
            </a:r>
            <a:r>
              <a:rPr kumimoji="0" lang="en-US" sz="11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: ETL</a:t>
            </a: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L="171450" marR="0" lvl="0" indent="-1714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1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nsert new row if there’s any changes from the website</a:t>
            </a:r>
            <a:endParaRPr kumimoji="0" lang="en-US" sz="11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138FD373-60EF-CD07-ADB2-43D745897D25}"/>
              </a:ext>
            </a:extLst>
          </p:cNvPr>
          <p:cNvGrpSpPr/>
          <p:nvPr/>
        </p:nvGrpSpPr>
        <p:grpSpPr>
          <a:xfrm>
            <a:off x="6109794" y="3630875"/>
            <a:ext cx="2016036" cy="409480"/>
            <a:chOff x="6470436" y="3569436"/>
            <a:chExt cx="2016036" cy="40948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21D805A1-B88C-7A4B-74CB-424E2DE5A49E}"/>
                </a:ext>
              </a:extLst>
            </p:cNvPr>
            <p:cNvGrpSpPr/>
            <p:nvPr/>
          </p:nvGrpSpPr>
          <p:grpSpPr>
            <a:xfrm>
              <a:off x="6470436" y="3569436"/>
              <a:ext cx="2016036" cy="409480"/>
              <a:chOff x="5730358" y="5773001"/>
              <a:chExt cx="2016036" cy="488285"/>
            </a:xfrm>
          </p:grpSpPr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DC6BE6AB-BDAD-DB58-D2F7-2C04173BD5C5}"/>
                  </a:ext>
                </a:extLst>
              </p:cNvPr>
              <p:cNvSpPr/>
              <p:nvPr/>
            </p:nvSpPr>
            <p:spPr>
              <a:xfrm>
                <a:off x="6064050" y="5773001"/>
                <a:ext cx="1682344" cy="488285"/>
              </a:xfrm>
              <a:prstGeom prst="roundRect">
                <a:avLst>
                  <a:gd name="adj" fmla="val 8547"/>
                </a:avLst>
              </a:prstGeom>
              <a:solidFill>
                <a:schemeClr val="bg1"/>
              </a:solidFill>
              <a:ln w="6350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ACFA400E-A31A-176F-350C-93F7604A2013}"/>
                  </a:ext>
                </a:extLst>
              </p:cNvPr>
              <p:cNvSpPr txBox="1"/>
              <p:nvPr/>
            </p:nvSpPr>
            <p:spPr>
              <a:xfrm>
                <a:off x="5730358" y="5871497"/>
                <a:ext cx="1856833" cy="31195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5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Scraped using:</a:t>
                </a:r>
                <a:endParaRPr lang="en-ID" sz="10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749A9B8B-511F-FFC0-C58E-BF5986D700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48848" y="3619023"/>
              <a:ext cx="296944" cy="310307"/>
            </a:xfrm>
            <a:prstGeom prst="rect">
              <a:avLst/>
            </a:prstGeom>
          </p:spPr>
        </p:pic>
      </p:grpSp>
      <p:cxnSp>
        <p:nvCxnSpPr>
          <p:cNvPr id="57" name="Straight Connector 68">
            <a:extLst>
              <a:ext uri="{FF2B5EF4-FFF2-40B4-BE49-F238E27FC236}">
                <a16:creationId xmlns:a16="http://schemas.microsoft.com/office/drawing/2014/main" id="{89705F5E-CDD9-5C02-9B6A-89B7FF73760E}"/>
              </a:ext>
            </a:extLst>
          </p:cNvPr>
          <p:cNvCxnSpPr>
            <a:cxnSpLocks/>
            <a:stCxn id="33" idx="0"/>
            <a:endCxn id="31" idx="4"/>
          </p:cNvCxnSpPr>
          <p:nvPr/>
        </p:nvCxnSpPr>
        <p:spPr>
          <a:xfrm rot="16200000" flipV="1">
            <a:off x="6772023" y="3118239"/>
            <a:ext cx="534287" cy="490985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1" name="Group 60">
            <a:extLst>
              <a:ext uri="{FF2B5EF4-FFF2-40B4-BE49-F238E27FC236}">
                <a16:creationId xmlns:a16="http://schemas.microsoft.com/office/drawing/2014/main" id="{D7744B28-41A8-E944-A84C-5E57233CEF22}"/>
              </a:ext>
            </a:extLst>
          </p:cNvPr>
          <p:cNvGrpSpPr/>
          <p:nvPr/>
        </p:nvGrpSpPr>
        <p:grpSpPr>
          <a:xfrm>
            <a:off x="8466417" y="3614497"/>
            <a:ext cx="2001296" cy="393525"/>
            <a:chOff x="2862931" y="6100534"/>
            <a:chExt cx="2265214" cy="439998"/>
          </a:xfrm>
        </p:grpSpPr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0B54A72E-F099-9A6B-66CC-8AD7C3658B9C}"/>
                </a:ext>
              </a:extLst>
            </p:cNvPr>
            <p:cNvSpPr/>
            <p:nvPr/>
          </p:nvSpPr>
          <p:spPr>
            <a:xfrm>
              <a:off x="2862931" y="6138081"/>
              <a:ext cx="2265214" cy="402451"/>
            </a:xfrm>
            <a:prstGeom prst="roundRect">
              <a:avLst>
                <a:gd name="adj" fmla="val 8547"/>
              </a:avLst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100" dirty="0"/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FEB3FA2C-AB0D-3C72-731D-E27D861181A6}"/>
                </a:ext>
              </a:extLst>
            </p:cNvPr>
            <p:cNvSpPr txBox="1"/>
            <p:nvPr/>
          </p:nvSpPr>
          <p:spPr>
            <a:xfrm>
              <a:off x="2904241" y="6100534"/>
              <a:ext cx="135738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Orchestrated using:</a:t>
              </a:r>
              <a:endParaRPr lang="en-ID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B713806D-0257-B073-4FC5-C053D1903E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64928" y="6157832"/>
              <a:ext cx="740504" cy="286328"/>
            </a:xfrm>
            <a:prstGeom prst="rect">
              <a:avLst/>
            </a:prstGeom>
          </p:spPr>
        </p:pic>
      </p:grpSp>
      <p:cxnSp>
        <p:nvCxnSpPr>
          <p:cNvPr id="66" name="Straight Connector 68">
            <a:extLst>
              <a:ext uri="{FF2B5EF4-FFF2-40B4-BE49-F238E27FC236}">
                <a16:creationId xmlns:a16="http://schemas.microsoft.com/office/drawing/2014/main" id="{831C7D1A-8056-AFF4-4B42-D6EC124CDF5F}"/>
              </a:ext>
            </a:extLst>
          </p:cNvPr>
          <p:cNvCxnSpPr>
            <a:cxnSpLocks/>
            <a:stCxn id="62" idx="1"/>
            <a:endCxn id="33" idx="3"/>
          </p:cNvCxnSpPr>
          <p:nvPr/>
        </p:nvCxnSpPr>
        <p:spPr>
          <a:xfrm flipH="1">
            <a:off x="8125830" y="3828050"/>
            <a:ext cx="340587" cy="756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9970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272331-6B13-8592-A9C9-3C712DE1CB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82A1FB0-50A1-C5D2-BF27-76C20E06C681}"/>
              </a:ext>
            </a:extLst>
          </p:cNvPr>
          <p:cNvGrpSpPr/>
          <p:nvPr/>
        </p:nvGrpSpPr>
        <p:grpSpPr>
          <a:xfrm>
            <a:off x="10188201" y="6470881"/>
            <a:ext cx="1831903" cy="139126"/>
            <a:chOff x="9806123" y="6498754"/>
            <a:chExt cx="1831903" cy="139126"/>
          </a:xfrm>
        </p:grpSpPr>
        <p:sp>
          <p:nvSpPr>
            <p:cNvPr id="5" name="SlideLogoText">
              <a:extLst>
                <a:ext uri="{FF2B5EF4-FFF2-40B4-BE49-F238E27FC236}">
                  <a16:creationId xmlns:a16="http://schemas.microsoft.com/office/drawing/2014/main" id="{64665A0B-19F2-A9C0-245B-57878D4B930B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9806123" y="6499381"/>
              <a:ext cx="1617430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6" name="Slide Number">
              <a:extLst>
                <a:ext uri="{FF2B5EF4-FFF2-40B4-BE49-F238E27FC236}">
                  <a16:creationId xmlns:a16="http://schemas.microsoft.com/office/drawing/2014/main" id="{70CF4594-B490-6EF3-FF3E-544518846EAC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 </a:t>
              </a:r>
              <a:fld id="{4ABDCABE-3F10-B64C-92F1-862014417034}" type="slidenum">
                <a:rPr kumimoji="0" lang="en-US" sz="900" b="0" i="0" u="none" strike="noStrike" kern="1200" cap="none" spc="0" normalizeH="0" baseline="0" noProof="0" smtClean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14</a:t>
              </a:fld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34726865-0022-6C6D-7CFA-C0B0584D14A4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6488696-B8B8-D639-11D9-924A29400C06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BB8D7EB2-7088-6CD2-2D9F-A098CEEC62E3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F5A58C72-8562-827C-DEA1-0B5509DDB2D3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Background and Study Case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2A1EAC2-93F3-E8AE-E5B3-97403CCC9017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909CE2F5-68EC-498C-C47F-7526BCDC4D9C}"/>
              </a:ext>
            </a:extLst>
          </p:cNvPr>
          <p:cNvSpPr txBox="1"/>
          <p:nvPr/>
        </p:nvSpPr>
        <p:spPr>
          <a:xfrm>
            <a:off x="206943" y="479414"/>
            <a:ext cx="119850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How well did the data pipeline design perform after implementation?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88E6AD4-FE5D-DA08-9DE5-DA4A58B561FA}"/>
              </a:ext>
            </a:extLst>
          </p:cNvPr>
          <p:cNvCxnSpPr>
            <a:cxnSpLocks/>
          </p:cNvCxnSpPr>
          <p:nvPr/>
        </p:nvCxnSpPr>
        <p:spPr>
          <a:xfrm>
            <a:off x="345057" y="991192"/>
            <a:ext cx="11590003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D5F3193C-C4C1-9D7A-6416-6153E2DC2CAA}"/>
              </a:ext>
            </a:extLst>
          </p:cNvPr>
          <p:cNvSpPr txBox="1"/>
          <p:nvPr/>
        </p:nvSpPr>
        <p:spPr>
          <a:xfrm>
            <a:off x="9971569" y="6139916"/>
            <a:ext cx="2240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Data as of 12</a:t>
            </a:r>
            <a:r>
              <a:rPr lang="en-US" sz="1000" i="1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0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ebruary 2025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717EABF-CB05-75D1-769A-95B380642F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2944" y="4170448"/>
            <a:ext cx="4196922" cy="169636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AFAAFAC-194B-4C25-1013-BBA2B0775A5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4484" y="2370813"/>
            <a:ext cx="11331147" cy="103729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0D68FA9-A2B9-F579-FE73-DCEB785434B7}"/>
              </a:ext>
            </a:extLst>
          </p:cNvPr>
          <p:cNvSpPr txBox="1"/>
          <p:nvPr/>
        </p:nvSpPr>
        <p:spPr>
          <a:xfrm>
            <a:off x="345057" y="1285674"/>
            <a:ext cx="11846943" cy="785343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ata successfully </a:t>
            </a:r>
            <a:r>
              <a:rPr kumimoji="0" lang="en-US" sz="16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scraped </a:t>
            </a:r>
            <a:r>
              <a:rPr kumimoji="0" lang="en-US" sz="16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using </a:t>
            </a:r>
            <a:r>
              <a:rPr kumimoji="0" lang="en-US" sz="16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selenium</a:t>
            </a:r>
            <a:r>
              <a:rPr kumimoji="0" lang="en-US" sz="16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, and </a:t>
            </a:r>
            <a:r>
              <a:rPr kumimoji="0" lang="en-US" sz="1600" b="1" i="0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upsert</a:t>
            </a:r>
            <a:r>
              <a:rPr kumimoji="0" lang="en-US" sz="16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</a:t>
            </a:r>
            <a:r>
              <a:rPr kumimoji="0" lang="en-US" sz="16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to data warehouse – all orchestrated using </a:t>
            </a:r>
            <a:r>
              <a:rPr kumimoji="0" lang="en-US" sz="16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Airflow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f there’s any changes in website, it will insert a new row of data and set the old data</a:t>
            </a:r>
            <a:r>
              <a:rPr kumimoji="0" lang="en-US" sz="16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inactive </a:t>
            </a:r>
            <a:r>
              <a:rPr kumimoji="0" lang="en-US" sz="16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n </a:t>
            </a:r>
            <a:r>
              <a:rPr kumimoji="0" lang="en-US" sz="1600" b="1" i="0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s_active</a:t>
            </a:r>
            <a:r>
              <a:rPr kumimoji="0" lang="en-US" sz="16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colum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8B90DDF-5983-768C-6F83-F57E091F5181}"/>
              </a:ext>
            </a:extLst>
          </p:cNvPr>
          <p:cNvSpPr txBox="1"/>
          <p:nvPr/>
        </p:nvSpPr>
        <p:spPr>
          <a:xfrm>
            <a:off x="4688958" y="3408109"/>
            <a:ext cx="24599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1.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Data Preview in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BigQuery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D5BA6A2-5040-B1E9-1BA1-FECBADB3F3C1}"/>
              </a:ext>
            </a:extLst>
          </p:cNvPr>
          <p:cNvSpPr txBox="1"/>
          <p:nvPr/>
        </p:nvSpPr>
        <p:spPr>
          <a:xfrm>
            <a:off x="1591411" y="5920409"/>
            <a:ext cx="274967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2.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Table preview in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BigQuery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dataset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EEF82459-80E2-E354-F428-857D29AFC91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03805" y="3875966"/>
            <a:ext cx="2647831" cy="2149866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E667F234-A381-0F12-27B8-19310F0D3435}"/>
              </a:ext>
            </a:extLst>
          </p:cNvPr>
          <p:cNvSpPr txBox="1"/>
          <p:nvPr/>
        </p:nvSpPr>
        <p:spPr>
          <a:xfrm>
            <a:off x="6697028" y="6035301"/>
            <a:ext cx="22892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3.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DAG4 Historical Task Logs</a:t>
            </a:r>
          </a:p>
        </p:txBody>
      </p:sp>
    </p:spTree>
    <p:extLst>
      <p:ext uri="{BB962C8B-B14F-4D97-AF65-F5344CB8AC3E}">
        <p14:creationId xmlns:p14="http://schemas.microsoft.com/office/powerpoint/2010/main" val="10688337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361793-8397-1B8F-00E2-C63F09B172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C728955-1D0B-E0D6-F132-3B73D012850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716000" cy="6858000"/>
          </a:xfrm>
          <a:prstGeom prst="rect">
            <a:avLst/>
          </a:prstGeom>
        </p:spPr>
      </p:pic>
      <p:pic>
        <p:nvPicPr>
          <p:cNvPr id="12" name="Google Shape;105;p25">
            <a:extLst>
              <a:ext uri="{FF2B5EF4-FFF2-40B4-BE49-F238E27FC236}">
                <a16:creationId xmlns:a16="http://schemas.microsoft.com/office/drawing/2014/main" id="{B55C1B7E-7FEB-27B4-AD7D-F939E3A35559}"/>
              </a:ext>
            </a:extLst>
          </p:cNvPr>
          <p:cNvPicPr preferRelativeResize="0"/>
          <p:nvPr/>
        </p:nvPicPr>
        <p:blipFill rotWithShape="1">
          <a:blip r:embed="rId4">
            <a:alphaModFix amt="63000"/>
          </a:blip>
          <a:srcRect t="2965"/>
          <a:stretch/>
        </p:blipFill>
        <p:spPr>
          <a:xfrm>
            <a:off x="-355" y="0"/>
            <a:ext cx="12192355" cy="6889022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07;p25">
            <a:extLst>
              <a:ext uri="{FF2B5EF4-FFF2-40B4-BE49-F238E27FC236}">
                <a16:creationId xmlns:a16="http://schemas.microsoft.com/office/drawing/2014/main" id="{E78EB0D9-D213-1AAD-4E39-95D50730E50B}"/>
              </a:ext>
            </a:extLst>
          </p:cNvPr>
          <p:cNvSpPr txBox="1">
            <a:spLocks/>
          </p:cNvSpPr>
          <p:nvPr/>
        </p:nvSpPr>
        <p:spPr>
          <a:xfrm>
            <a:off x="323852" y="5088084"/>
            <a:ext cx="7185035" cy="8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roxima Nova"/>
              <a:buNone/>
              <a:defRPr sz="3200" b="0" i="0" u="none" strike="noStrike" cap="none">
                <a:solidFill>
                  <a:schemeClr val="lt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 marL="0" indent="0">
              <a:buClr>
                <a:prstClr val="white"/>
              </a:buClr>
              <a:defRPr/>
            </a:pPr>
            <a:endParaRPr lang="en-ID" sz="2500" kern="0" dirty="0">
              <a:solidFill>
                <a:prstClr val="white"/>
              </a:solidFill>
              <a:latin typeface="EMprint Light" panose="020B0303020204020204" pitchFamily="34" charset="0"/>
              <a:ea typeface="EMprint Light" panose="020B0303020204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076A201-88F6-8BB1-9040-7B51B2075C58}"/>
              </a:ext>
            </a:extLst>
          </p:cNvPr>
          <p:cNvSpPr txBox="1"/>
          <p:nvPr/>
        </p:nvSpPr>
        <p:spPr>
          <a:xfrm>
            <a:off x="1014523" y="1461184"/>
            <a:ext cx="9172355" cy="326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6000" b="1" dirty="0">
                <a:solidFill>
                  <a:prstClr val="white"/>
                </a:solidFill>
                <a:latin typeface="Georgia" panose="02040502050405020303" pitchFamily="18" charset="0"/>
                <a:ea typeface="EMprint" panose="020B0503020204020204" pitchFamily="34" charset="0"/>
                <a:cs typeface="Arial" panose="020B0604020202020204" pitchFamily="34" charset="0"/>
              </a:rPr>
              <a:t>Thank you!</a:t>
            </a:r>
          </a:p>
          <a:p>
            <a:pPr>
              <a:lnSpc>
                <a:spcPct val="150000"/>
              </a:lnSpc>
              <a:defRPr/>
            </a:pPr>
            <a:r>
              <a:rPr lang="en-US" sz="2400" dirty="0">
                <a:solidFill>
                  <a:prstClr val="white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Any feedback would be very much appreciated </a:t>
            </a:r>
            <a:r>
              <a:rPr lang="en-US" sz="2400" dirty="0">
                <a:solidFill>
                  <a:prstClr val="white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</a:t>
            </a:r>
            <a:endParaRPr lang="en-US" sz="2400" dirty="0">
              <a:solidFill>
                <a:prstClr val="white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en-US" sz="3200" dirty="0">
              <a:solidFill>
                <a:prstClr val="white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dirty="0" err="1">
                <a:solidFill>
                  <a:prstClr val="white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Github</a:t>
            </a:r>
            <a:r>
              <a:rPr lang="en-US" dirty="0">
                <a:solidFill>
                  <a:prstClr val="white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: https://github.com/rizkyjarr/final-project-purwadhika</a:t>
            </a:r>
          </a:p>
          <a:p>
            <a:pPr>
              <a:defRPr/>
            </a:pPr>
            <a:endParaRPr lang="en-US" sz="3200" b="1" dirty="0">
              <a:solidFill>
                <a:prstClr val="white"/>
              </a:solidFill>
              <a:latin typeface="Georgia" panose="02040502050405020303" pitchFamily="18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6A790E-5553-A93C-DA13-334851A8F9AB}"/>
              </a:ext>
            </a:extLst>
          </p:cNvPr>
          <p:cNvSpPr/>
          <p:nvPr/>
        </p:nvSpPr>
        <p:spPr>
          <a:xfrm>
            <a:off x="1134480" y="1234954"/>
            <a:ext cx="976260" cy="45720"/>
          </a:xfrm>
          <a:prstGeom prst="rect">
            <a:avLst/>
          </a:prstGeom>
          <a:solidFill>
            <a:srgbClr val="35B7B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27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EA88E05-9F51-1A8A-8190-AA5672E2C5AE}"/>
              </a:ext>
            </a:extLst>
          </p:cNvPr>
          <p:cNvSpPr txBox="1"/>
          <p:nvPr/>
        </p:nvSpPr>
        <p:spPr>
          <a:xfrm>
            <a:off x="10605181" y="38100"/>
            <a:ext cx="157411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</p:spTree>
    <p:extLst>
      <p:ext uri="{BB962C8B-B14F-4D97-AF65-F5344CB8AC3E}">
        <p14:creationId xmlns:p14="http://schemas.microsoft.com/office/powerpoint/2010/main" val="33830492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CBD578-DD6F-967E-2E52-3F7BDA5D22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F8E37D12-C30C-6D66-ADEF-20365DB80C9A}"/>
              </a:ext>
            </a:extLst>
          </p:cNvPr>
          <p:cNvGrpSpPr/>
          <p:nvPr/>
        </p:nvGrpSpPr>
        <p:grpSpPr>
          <a:xfrm>
            <a:off x="10283354" y="6470881"/>
            <a:ext cx="1736750" cy="139126"/>
            <a:chOff x="9901276" y="6498754"/>
            <a:chExt cx="1736750" cy="139126"/>
          </a:xfrm>
        </p:grpSpPr>
        <p:sp>
          <p:nvSpPr>
            <p:cNvPr id="5" name="SlideLogoText">
              <a:extLst>
                <a:ext uri="{FF2B5EF4-FFF2-40B4-BE49-F238E27FC236}">
                  <a16:creationId xmlns:a16="http://schemas.microsoft.com/office/drawing/2014/main" id="{8E7DD192-91E3-9672-58BA-DE10D3685E3B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9901276" y="6499381"/>
              <a:ext cx="1617430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6" name="Slide Number">
              <a:extLst>
                <a:ext uri="{FF2B5EF4-FFF2-40B4-BE49-F238E27FC236}">
                  <a16:creationId xmlns:a16="http://schemas.microsoft.com/office/drawing/2014/main" id="{09EBEE46-A9A9-2A3B-CB59-F0A60F52DBD5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16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ACF23446-401C-B054-4545-3390892E320B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5FB7F53-6992-74E5-1849-7F052F0DE0B6}"/>
              </a:ext>
            </a:extLst>
          </p:cNvPr>
          <p:cNvSpPr txBox="1"/>
          <p:nvPr/>
        </p:nvSpPr>
        <p:spPr>
          <a:xfrm>
            <a:off x="206943" y="478058"/>
            <a:ext cx="12089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EMprint" panose="020B0503020204020204" pitchFamily="34" charset="0"/>
              </a:rPr>
              <a:t>Appendix 1 – SQL FILE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 panose="02040502050405020303" pitchFamily="18" charset="0"/>
              <a:ea typeface="EMprint" panose="020B0503020204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27317B-E282-4F71-C47A-0CBBFA73A682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B7439204-D89F-F1F0-22EE-49BD0727E642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4E817C5C-8A39-4CBA-1328-02C8D5F945AE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Background and Study Case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0EFE26F-50D9-ACBD-DA06-0682EA68E123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8B654D2-7949-FB77-2935-F7E099233C32}"/>
              </a:ext>
            </a:extLst>
          </p:cNvPr>
          <p:cNvCxnSpPr>
            <a:cxnSpLocks/>
          </p:cNvCxnSpPr>
          <p:nvPr/>
        </p:nvCxnSpPr>
        <p:spPr>
          <a:xfrm>
            <a:off x="300998" y="939723"/>
            <a:ext cx="11590003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516F330A-6C5B-659E-E2C1-E313BCAE81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0900" y="1788210"/>
            <a:ext cx="4168781" cy="3281579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2AE39ED-0333-0A5D-2D0C-B99E3D7F68C4}"/>
              </a:ext>
            </a:extLst>
          </p:cNvPr>
          <p:cNvSpPr/>
          <p:nvPr/>
        </p:nvSpPr>
        <p:spPr>
          <a:xfrm>
            <a:off x="850900" y="2952750"/>
            <a:ext cx="4054475" cy="1190625"/>
          </a:xfrm>
          <a:prstGeom prst="round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8F3266-2C36-C49E-80E1-FD9C14F902EA}"/>
              </a:ext>
            </a:extLst>
          </p:cNvPr>
          <p:cNvSpPr txBox="1"/>
          <p:nvPr/>
        </p:nvSpPr>
        <p:spPr>
          <a:xfrm>
            <a:off x="1577969" y="5121210"/>
            <a:ext cx="22892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1.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SQL folder location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AA55F22-4060-CFCE-C791-C0DB88DE316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57522" y="1788209"/>
            <a:ext cx="5401347" cy="3281573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0AE520C-FF24-33C5-F2B8-738073BA5CFD}"/>
              </a:ext>
            </a:extLst>
          </p:cNvPr>
          <p:cNvSpPr txBox="1"/>
          <p:nvPr/>
        </p:nvSpPr>
        <p:spPr>
          <a:xfrm>
            <a:off x="7413548" y="5121210"/>
            <a:ext cx="22892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2.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Code example</a:t>
            </a:r>
          </a:p>
        </p:txBody>
      </p:sp>
    </p:spTree>
    <p:extLst>
      <p:ext uri="{BB962C8B-B14F-4D97-AF65-F5344CB8AC3E}">
        <p14:creationId xmlns:p14="http://schemas.microsoft.com/office/powerpoint/2010/main" val="40394275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FA96A2-147C-AE09-26A8-F19EF6A4E1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279C242-0B0F-A981-8612-D3D1783F9453}"/>
              </a:ext>
            </a:extLst>
          </p:cNvPr>
          <p:cNvGrpSpPr/>
          <p:nvPr/>
        </p:nvGrpSpPr>
        <p:grpSpPr>
          <a:xfrm>
            <a:off x="10283354" y="6470881"/>
            <a:ext cx="1736750" cy="139126"/>
            <a:chOff x="9901276" y="6498754"/>
            <a:chExt cx="1736750" cy="139126"/>
          </a:xfrm>
        </p:grpSpPr>
        <p:sp>
          <p:nvSpPr>
            <p:cNvPr id="5" name="SlideLogoText">
              <a:extLst>
                <a:ext uri="{FF2B5EF4-FFF2-40B4-BE49-F238E27FC236}">
                  <a16:creationId xmlns:a16="http://schemas.microsoft.com/office/drawing/2014/main" id="{15E28812-D454-0283-B8C7-8479F0ED8295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9901276" y="6499381"/>
              <a:ext cx="1617430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6" name="Slide Number">
              <a:extLst>
                <a:ext uri="{FF2B5EF4-FFF2-40B4-BE49-F238E27FC236}">
                  <a16:creationId xmlns:a16="http://schemas.microsoft.com/office/drawing/2014/main" id="{C93BA1D9-2654-0230-D220-FAB803F1B992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17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4C800135-2B73-65C1-3695-A08D318147AC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79FFB75-4FD2-5E1D-2A97-3E50B3378A2C}"/>
              </a:ext>
            </a:extLst>
          </p:cNvPr>
          <p:cNvSpPr txBox="1"/>
          <p:nvPr/>
        </p:nvSpPr>
        <p:spPr>
          <a:xfrm>
            <a:off x="206943" y="478058"/>
            <a:ext cx="12089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EMprint" panose="020B0503020204020204" pitchFamily="34" charset="0"/>
              </a:rPr>
              <a:t>Appendix 2 – Discord Webhook Alert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 panose="02040502050405020303" pitchFamily="18" charset="0"/>
              <a:ea typeface="EMprint" panose="020B0503020204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43A617A-B140-D252-CB36-7EF1007B4CB8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C74DAC96-E0A8-BABA-F3DD-B98C9C6CF8FD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4487C7B4-3029-96F0-C280-7DD614E26955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Background and Study Case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230CE467-99B5-85FE-6A84-FA91E478FB17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46CDA4A-D8FF-99A6-5F5B-A7A89988DDD1}"/>
              </a:ext>
            </a:extLst>
          </p:cNvPr>
          <p:cNvCxnSpPr>
            <a:cxnSpLocks/>
          </p:cNvCxnSpPr>
          <p:nvPr/>
        </p:nvCxnSpPr>
        <p:spPr>
          <a:xfrm>
            <a:off x="300998" y="939723"/>
            <a:ext cx="11590003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C3D66C37-5681-5260-B1DF-C40A1E504AC9}"/>
              </a:ext>
            </a:extLst>
          </p:cNvPr>
          <p:cNvSpPr txBox="1"/>
          <p:nvPr/>
        </p:nvSpPr>
        <p:spPr>
          <a:xfrm>
            <a:off x="1577969" y="5834190"/>
            <a:ext cx="22892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1.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Error and retry alert on Discor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309697A-78CA-67BB-BA76-1181F2AF946B}"/>
              </a:ext>
            </a:extLst>
          </p:cNvPr>
          <p:cNvSpPr txBox="1"/>
          <p:nvPr/>
        </p:nvSpPr>
        <p:spPr>
          <a:xfrm>
            <a:off x="7469695" y="5885959"/>
            <a:ext cx="22892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2.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Discord alert’s scrip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A6DB2B1-BF38-7CB0-0B9E-364B1F5222A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81742" y="1349715"/>
            <a:ext cx="6465200" cy="444376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0E6C695-2393-6EDA-4A32-4F18E2D4724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0900" y="2077303"/>
            <a:ext cx="3448531" cy="161947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00663408-1081-A9C4-DA3A-32828421C3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5057" y="3881890"/>
            <a:ext cx="4782217" cy="1190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6247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C0B778-A0A3-A06E-9A62-EE3BA3BC63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63E28F7A-E2ED-4636-AF0F-8D0754A5F7B0}"/>
              </a:ext>
            </a:extLst>
          </p:cNvPr>
          <p:cNvGrpSpPr/>
          <p:nvPr/>
        </p:nvGrpSpPr>
        <p:grpSpPr>
          <a:xfrm>
            <a:off x="10283354" y="6470881"/>
            <a:ext cx="1736750" cy="139126"/>
            <a:chOff x="9901276" y="6498754"/>
            <a:chExt cx="1736750" cy="139126"/>
          </a:xfrm>
        </p:grpSpPr>
        <p:sp>
          <p:nvSpPr>
            <p:cNvPr id="5" name="SlideLogoText">
              <a:extLst>
                <a:ext uri="{FF2B5EF4-FFF2-40B4-BE49-F238E27FC236}">
                  <a16:creationId xmlns:a16="http://schemas.microsoft.com/office/drawing/2014/main" id="{F321D026-F6CB-D289-B4D1-433F8CDCFB7E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9901276" y="6499381"/>
              <a:ext cx="1617430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6" name="Slide Number">
              <a:extLst>
                <a:ext uri="{FF2B5EF4-FFF2-40B4-BE49-F238E27FC236}">
                  <a16:creationId xmlns:a16="http://schemas.microsoft.com/office/drawing/2014/main" id="{B038113C-4D5C-89F5-0464-04004F176E93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18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53C43F59-525E-BD84-79CA-5608E3A5DAA4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E28C454-FBB0-22A8-5E11-ED092A19C46D}"/>
              </a:ext>
            </a:extLst>
          </p:cNvPr>
          <p:cNvSpPr txBox="1"/>
          <p:nvPr/>
        </p:nvSpPr>
        <p:spPr>
          <a:xfrm>
            <a:off x="206943" y="478058"/>
            <a:ext cx="12089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EMprint" panose="020B0503020204020204" pitchFamily="34" charset="0"/>
              </a:rPr>
              <a:t>Appendix 3 – Data Preview in </a:t>
            </a:r>
            <a:r>
              <a:rPr kumimoji="0" lang="en-US" sz="2400" b="1" i="0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EMprint" panose="020B0503020204020204" pitchFamily="34" charset="0"/>
              </a:rPr>
              <a:t>BigQuery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 panose="02040502050405020303" pitchFamily="18" charset="0"/>
              <a:ea typeface="EMprint" panose="020B0503020204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6DE0DED-F3A8-8777-1360-D53AECC29CDA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DFEF194C-EF7E-0823-41DF-E208858FCE7D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9507A9C6-009D-D538-66BA-9F626A99396C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Background and Study Case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E4D96600-0295-6C9A-75BF-222D394285FA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pic>
        <p:nvPicPr>
          <p:cNvPr id="36" name="Picture 35">
            <a:extLst>
              <a:ext uri="{FF2B5EF4-FFF2-40B4-BE49-F238E27FC236}">
                <a16:creationId xmlns:a16="http://schemas.microsoft.com/office/drawing/2014/main" id="{7D9C619C-6CC7-885D-07A5-3188DFFEF3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42158" y="7019999"/>
            <a:ext cx="3751064" cy="273636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8E51A79-EC96-3087-C091-6771D891B5F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3743517" y="7019999"/>
            <a:ext cx="4594417" cy="2773037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D1C330E-E0D0-AD2A-51DB-71182FFD514C}"/>
              </a:ext>
            </a:extLst>
          </p:cNvPr>
          <p:cNvCxnSpPr>
            <a:cxnSpLocks/>
          </p:cNvCxnSpPr>
          <p:nvPr/>
        </p:nvCxnSpPr>
        <p:spPr>
          <a:xfrm>
            <a:off x="300998" y="939723"/>
            <a:ext cx="11590003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4" name="Picture 123">
            <a:extLst>
              <a:ext uri="{FF2B5EF4-FFF2-40B4-BE49-F238E27FC236}">
                <a16:creationId xmlns:a16="http://schemas.microsoft.com/office/drawing/2014/main" id="{2E58438D-0071-4C05-F195-C1DBEE3CF58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1188" y="7020000"/>
            <a:ext cx="7792537" cy="275310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68C3E0E-699F-0D07-E79E-3DA40BA26E9C}"/>
              </a:ext>
            </a:extLst>
          </p:cNvPr>
          <p:cNvSpPr txBox="1"/>
          <p:nvPr/>
        </p:nvSpPr>
        <p:spPr>
          <a:xfrm>
            <a:off x="2195117" y="3620046"/>
            <a:ext cx="22892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1.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Mart_cust_rides_daily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tabl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9D7844F-B608-18CB-4359-E5D240D15C5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42840" y="1113827"/>
            <a:ext cx="3893568" cy="2536093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249A75F-68F7-0893-C0F5-9F01F054462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504457" y="3939939"/>
            <a:ext cx="3893568" cy="2517749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2DE91081-A1E7-BF96-3248-55C29D53EB4A}"/>
              </a:ext>
            </a:extLst>
          </p:cNvPr>
          <p:cNvSpPr txBox="1"/>
          <p:nvPr/>
        </p:nvSpPr>
        <p:spPr>
          <a:xfrm>
            <a:off x="2195117" y="6543756"/>
            <a:ext cx="22892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2.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Fact_hailing_rides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9EB1E83A-EFCF-9804-4D49-A9770ED863B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51859" y="1121980"/>
            <a:ext cx="4673150" cy="2498066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2FEE9D42-AA6B-7184-70BA-4F4A9C0E3FC6}"/>
              </a:ext>
            </a:extLst>
          </p:cNvPr>
          <p:cNvSpPr txBox="1"/>
          <p:nvPr/>
        </p:nvSpPr>
        <p:spPr>
          <a:xfrm>
            <a:off x="7523117" y="3620046"/>
            <a:ext cx="25412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3.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Mart_driver_loyalty_mgmt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table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F129E879-44B6-B937-428F-41B6DCF2F91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146885" y="4000692"/>
            <a:ext cx="3293680" cy="237925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62BB69D6-D8CA-62C5-4ECF-F8A159C99F66}"/>
              </a:ext>
            </a:extLst>
          </p:cNvPr>
          <p:cNvSpPr txBox="1"/>
          <p:nvPr/>
        </p:nvSpPr>
        <p:spPr>
          <a:xfrm>
            <a:off x="7523117" y="6417019"/>
            <a:ext cx="25412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Fig 4.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dim_customer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table</a:t>
            </a:r>
          </a:p>
        </p:txBody>
      </p:sp>
    </p:spTree>
    <p:extLst>
      <p:ext uri="{BB962C8B-B14F-4D97-AF65-F5344CB8AC3E}">
        <p14:creationId xmlns:p14="http://schemas.microsoft.com/office/powerpoint/2010/main" val="17512828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D531CF-00E5-3828-2C4C-87CACC44D3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F48145ED-73A1-1FC0-758A-D14022E2A8C4}"/>
              </a:ext>
            </a:extLst>
          </p:cNvPr>
          <p:cNvGrpSpPr/>
          <p:nvPr/>
        </p:nvGrpSpPr>
        <p:grpSpPr>
          <a:xfrm>
            <a:off x="10268929" y="6470881"/>
            <a:ext cx="1751175" cy="139126"/>
            <a:chOff x="9886851" y="6498754"/>
            <a:chExt cx="1751175" cy="139126"/>
          </a:xfrm>
        </p:grpSpPr>
        <p:sp>
          <p:nvSpPr>
            <p:cNvPr id="5" name="SlideLogoText">
              <a:extLst>
                <a:ext uri="{FF2B5EF4-FFF2-40B4-BE49-F238E27FC236}">
                  <a16:creationId xmlns:a16="http://schemas.microsoft.com/office/drawing/2014/main" id="{9553D817-A4F9-D4EE-A83E-E9DDAFE7E434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9886851" y="6499381"/>
              <a:ext cx="164628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 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6" name="Slide Number">
              <a:extLst>
                <a:ext uri="{FF2B5EF4-FFF2-40B4-BE49-F238E27FC236}">
                  <a16:creationId xmlns:a16="http://schemas.microsoft.com/office/drawing/2014/main" id="{C5C93DDD-EDA5-ED68-E0D4-7E6273B9538C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2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5CD5FADB-501B-0D88-AC39-D70F805F204A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97DA116-A11C-59C6-AA95-B4927DD81294}"/>
              </a:ext>
            </a:extLst>
          </p:cNvPr>
          <p:cNvSpPr txBox="1"/>
          <p:nvPr/>
        </p:nvSpPr>
        <p:spPr>
          <a:xfrm>
            <a:off x="206943" y="478058"/>
            <a:ext cx="12089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latin typeface="Georgia" panose="02040502050405020303" pitchFamily="18" charset="0"/>
              </a:rPr>
              <a:t>Table of Contents: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 panose="02040502050405020303" pitchFamily="18" charset="0"/>
              <a:ea typeface="EMprint" panose="020B0503020204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154F39C-D8D6-5C64-E1DB-31DD0455041A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62DEE151-64AE-AA9C-FCB1-276B785A9C86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BD53C736-3F53-79F1-FD50-2E8C02376D72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Capstone 3 – Outline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7839C323-8E68-221C-9B53-25970E011C66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DA1F0FA7-59C7-FAF5-DAF8-85B441108C9C}"/>
              </a:ext>
            </a:extLst>
          </p:cNvPr>
          <p:cNvSpPr/>
          <p:nvPr/>
        </p:nvSpPr>
        <p:spPr>
          <a:xfrm>
            <a:off x="2891066" y="2033524"/>
            <a:ext cx="539496" cy="540496"/>
          </a:xfrm>
          <a:prstGeom prst="rect">
            <a:avLst/>
          </a:prstGeom>
          <a:solidFill>
            <a:srgbClr val="141E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1</a:t>
            </a:r>
            <a:endParaRPr lang="en-ID" sz="2000" b="1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hlinkClick r:id="rId7" action="ppaction://hlinksldjump"/>
            <a:extLst>
              <a:ext uri="{FF2B5EF4-FFF2-40B4-BE49-F238E27FC236}">
                <a16:creationId xmlns:a16="http://schemas.microsoft.com/office/drawing/2014/main" id="{DC38C997-9871-C4EA-E543-F0C355E9FE1B}"/>
              </a:ext>
            </a:extLst>
          </p:cNvPr>
          <p:cNvSpPr/>
          <p:nvPr/>
        </p:nvSpPr>
        <p:spPr>
          <a:xfrm>
            <a:off x="3514905" y="1933722"/>
            <a:ext cx="4800242" cy="740100"/>
          </a:xfrm>
          <a:prstGeom prst="rect">
            <a:avLst/>
          </a:prstGeom>
          <a:solidFill>
            <a:srgbClr val="141E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Background and Study Case</a:t>
            </a:r>
            <a:endParaRPr lang="en-ID" sz="2000" b="1" dirty="0">
              <a:solidFill>
                <a:schemeClr val="bg1"/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hlinkClick r:id="rId8" action="ppaction://hlinksldjump"/>
            <a:extLst>
              <a:ext uri="{FF2B5EF4-FFF2-40B4-BE49-F238E27FC236}">
                <a16:creationId xmlns:a16="http://schemas.microsoft.com/office/drawing/2014/main" id="{A2DA0E0A-9C06-96D1-6BD3-FF5697999CCD}"/>
              </a:ext>
            </a:extLst>
          </p:cNvPr>
          <p:cNvSpPr/>
          <p:nvPr/>
        </p:nvSpPr>
        <p:spPr>
          <a:xfrm>
            <a:off x="2891066" y="2882053"/>
            <a:ext cx="539496" cy="540496"/>
          </a:xfrm>
          <a:prstGeom prst="rect">
            <a:avLst/>
          </a:prstGeom>
          <a:solidFill>
            <a:srgbClr val="141E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2</a:t>
            </a:r>
            <a:endParaRPr lang="en-ID" sz="2000" b="1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hlinkClick r:id="rId9" action="ppaction://hlinksldjump"/>
            <a:extLst>
              <a:ext uri="{FF2B5EF4-FFF2-40B4-BE49-F238E27FC236}">
                <a16:creationId xmlns:a16="http://schemas.microsoft.com/office/drawing/2014/main" id="{54ACE69C-B8F1-453C-63F1-D7ED8056383C}"/>
              </a:ext>
            </a:extLst>
          </p:cNvPr>
          <p:cNvSpPr/>
          <p:nvPr/>
        </p:nvSpPr>
        <p:spPr>
          <a:xfrm>
            <a:off x="3514905" y="2782251"/>
            <a:ext cx="4800242" cy="740100"/>
          </a:xfrm>
          <a:prstGeom prst="rect">
            <a:avLst/>
          </a:prstGeom>
          <a:solidFill>
            <a:srgbClr val="141E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Project Development and documentation</a:t>
            </a:r>
            <a:endParaRPr lang="en-ID" sz="2000" b="1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hlinkClick r:id="rId10" action="ppaction://hlinksldjump"/>
            <a:extLst>
              <a:ext uri="{FF2B5EF4-FFF2-40B4-BE49-F238E27FC236}">
                <a16:creationId xmlns:a16="http://schemas.microsoft.com/office/drawing/2014/main" id="{DDD3C425-AF4C-CA7F-112C-47CB2FD330C1}"/>
              </a:ext>
            </a:extLst>
          </p:cNvPr>
          <p:cNvSpPr/>
          <p:nvPr/>
        </p:nvSpPr>
        <p:spPr>
          <a:xfrm>
            <a:off x="2891066" y="3792209"/>
            <a:ext cx="539496" cy="540496"/>
          </a:xfrm>
          <a:prstGeom prst="rect">
            <a:avLst/>
          </a:prstGeom>
          <a:solidFill>
            <a:srgbClr val="141E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3</a:t>
            </a:r>
            <a:endParaRPr lang="en-ID" sz="2000" b="1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hlinkClick r:id="rId11" action="ppaction://hlinksldjump"/>
            <a:extLst>
              <a:ext uri="{FF2B5EF4-FFF2-40B4-BE49-F238E27FC236}">
                <a16:creationId xmlns:a16="http://schemas.microsoft.com/office/drawing/2014/main" id="{558A4831-9A21-5A61-7F55-0F7CDDA6B87A}"/>
              </a:ext>
            </a:extLst>
          </p:cNvPr>
          <p:cNvSpPr/>
          <p:nvPr/>
        </p:nvSpPr>
        <p:spPr>
          <a:xfrm>
            <a:off x="3514905" y="3692407"/>
            <a:ext cx="4800242" cy="740100"/>
          </a:xfrm>
          <a:prstGeom prst="rect">
            <a:avLst/>
          </a:prstGeom>
          <a:solidFill>
            <a:srgbClr val="141E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Project Results</a:t>
            </a:r>
            <a:endParaRPr lang="en-ID" sz="2000" b="1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hlinkClick r:id="rId10" action="ppaction://hlinksldjump"/>
            <a:extLst>
              <a:ext uri="{FF2B5EF4-FFF2-40B4-BE49-F238E27FC236}">
                <a16:creationId xmlns:a16="http://schemas.microsoft.com/office/drawing/2014/main" id="{6610C69A-E6E7-E2EE-4C13-AAC8DF48413F}"/>
              </a:ext>
            </a:extLst>
          </p:cNvPr>
          <p:cNvSpPr/>
          <p:nvPr/>
        </p:nvSpPr>
        <p:spPr>
          <a:xfrm>
            <a:off x="2891066" y="4702365"/>
            <a:ext cx="539496" cy="540496"/>
          </a:xfrm>
          <a:prstGeom prst="rect">
            <a:avLst/>
          </a:prstGeom>
          <a:solidFill>
            <a:srgbClr val="141E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4</a:t>
            </a:r>
            <a:endParaRPr lang="en-ID" sz="2000" b="1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hlinkClick r:id="rId12" action="ppaction://hlinksldjump"/>
            <a:extLst>
              <a:ext uri="{FF2B5EF4-FFF2-40B4-BE49-F238E27FC236}">
                <a16:creationId xmlns:a16="http://schemas.microsoft.com/office/drawing/2014/main" id="{CEAB9ECF-E7D9-682B-CCD8-9E5745D0CE01}"/>
              </a:ext>
            </a:extLst>
          </p:cNvPr>
          <p:cNvSpPr/>
          <p:nvPr/>
        </p:nvSpPr>
        <p:spPr>
          <a:xfrm>
            <a:off x="3514905" y="4602563"/>
            <a:ext cx="4800242" cy="740100"/>
          </a:xfrm>
          <a:prstGeom prst="rect">
            <a:avLst/>
          </a:prstGeom>
          <a:solidFill>
            <a:srgbClr val="141E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Website scraping documentation</a:t>
            </a:r>
            <a:endParaRPr lang="en-ID" sz="2000" b="1" dirty="0"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1769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EAD780-6852-F011-7CAA-BBAFFD3847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233CE5FD-CFE8-91E0-FB49-B5E2B8C14534}"/>
              </a:ext>
            </a:extLst>
          </p:cNvPr>
          <p:cNvSpPr/>
          <p:nvPr/>
        </p:nvSpPr>
        <p:spPr>
          <a:xfrm>
            <a:off x="354762" y="4300499"/>
            <a:ext cx="3706243" cy="1922501"/>
          </a:xfrm>
          <a:prstGeom prst="roundRect">
            <a:avLst>
              <a:gd name="adj" fmla="val 7509"/>
            </a:avLst>
          </a:prstGeom>
          <a:solidFill>
            <a:srgbClr val="FBFBFB"/>
          </a:solidFill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aphicFrame>
        <p:nvGraphicFramePr>
          <p:cNvPr id="56" name="Chart 55">
            <a:extLst>
              <a:ext uri="{FF2B5EF4-FFF2-40B4-BE49-F238E27FC236}">
                <a16:creationId xmlns:a16="http://schemas.microsoft.com/office/drawing/2014/main" id="{59453198-3013-50A0-FD99-2F3C747D44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42761574"/>
              </p:ext>
            </p:extLst>
          </p:nvPr>
        </p:nvGraphicFramePr>
        <p:xfrm>
          <a:off x="4318129" y="3556750"/>
          <a:ext cx="4009831" cy="2777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29">
            <a:extLst>
              <a:ext uri="{FF2B5EF4-FFF2-40B4-BE49-F238E27FC236}">
                <a16:creationId xmlns:a16="http://schemas.microsoft.com/office/drawing/2014/main" id="{89DDECC7-6B9C-1FF8-C0B0-5B6BCE4D6354}"/>
              </a:ext>
            </a:extLst>
          </p:cNvPr>
          <p:cNvSpPr txBox="1"/>
          <p:nvPr/>
        </p:nvSpPr>
        <p:spPr>
          <a:xfrm>
            <a:off x="4460515" y="1694105"/>
            <a:ext cx="33244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Revenue declining sharp</a:t>
            </a:r>
            <a:endParaRPr kumimoji="0" lang="en-US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4EFF187-AD36-7C22-862A-B42547222549}"/>
              </a:ext>
            </a:extLst>
          </p:cNvPr>
          <p:cNvSpPr txBox="1"/>
          <p:nvPr/>
        </p:nvSpPr>
        <p:spPr>
          <a:xfrm>
            <a:off x="256941" y="1686485"/>
            <a:ext cx="33244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Tight market competition</a:t>
            </a:r>
            <a:endParaRPr kumimoji="0" lang="en-US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4171134-93AB-D23E-1171-BD7E3A1AC9C0}"/>
              </a:ext>
            </a:extLst>
          </p:cNvPr>
          <p:cNvGrpSpPr/>
          <p:nvPr/>
        </p:nvGrpSpPr>
        <p:grpSpPr>
          <a:xfrm>
            <a:off x="10283354" y="6470881"/>
            <a:ext cx="1736750" cy="139126"/>
            <a:chOff x="9901276" y="6498754"/>
            <a:chExt cx="1736750" cy="139126"/>
          </a:xfrm>
        </p:grpSpPr>
        <p:sp>
          <p:nvSpPr>
            <p:cNvPr id="5" name="SlideLogoText">
              <a:extLst>
                <a:ext uri="{FF2B5EF4-FFF2-40B4-BE49-F238E27FC236}">
                  <a16:creationId xmlns:a16="http://schemas.microsoft.com/office/drawing/2014/main" id="{9B6D7EDC-AA5C-E46F-E093-97DDD7AE4E12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9901276" y="6499381"/>
              <a:ext cx="1617430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6" name="Slide Number">
              <a:extLst>
                <a:ext uri="{FF2B5EF4-FFF2-40B4-BE49-F238E27FC236}">
                  <a16:creationId xmlns:a16="http://schemas.microsoft.com/office/drawing/2014/main" id="{79D86F14-1574-F35D-7232-A546EAFF3E7E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3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4BB490C5-B17A-94E1-4EA2-1A6900DCF287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8584CAD-EE1A-36DD-95D3-1570233C0ACC}"/>
              </a:ext>
            </a:extLst>
          </p:cNvPr>
          <p:cNvSpPr txBox="1"/>
          <p:nvPr/>
        </p:nvSpPr>
        <p:spPr>
          <a:xfrm>
            <a:off x="206943" y="478058"/>
            <a:ext cx="120898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EMprint" panose="020B0503020204020204" pitchFamily="34" charset="0"/>
              </a:rPr>
              <a:t>Study Cas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EMprint" panose="020B0503020204020204" pitchFamily="34" charset="0"/>
              </a:rPr>
              <a:t>GoHaili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EMprint" panose="020B0503020204020204" pitchFamily="34" charset="0"/>
              </a:rPr>
              <a:t>!</a:t>
            </a:r>
            <a:r>
              <a:rPr lang="en-US" sz="2400" b="1" dirty="0">
                <a:solidFill>
                  <a:prstClr val="black"/>
                </a:solidFill>
                <a:latin typeface="Georgia" panose="02040502050405020303" pitchFamily="18" charset="0"/>
                <a:ea typeface="EMprint" panose="020B0503020204020204" pitchFamily="34" charset="0"/>
              </a:rPr>
              <a:t>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EMprint" panose="020B0503020204020204" pitchFamily="34" charset="0"/>
              </a:rPr>
              <a:t>company is facing risks that threatens its business sustainability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CCC2F55-A147-339B-CDB5-E41A677A418E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EFDC961C-2827-69B0-76BE-1983FE92B26E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46664F90-8055-5F47-75CD-FEA25898CD32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Background and Study Case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2B71D483-CA0E-A138-2532-76FA00E7B691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DE8EBC0B-0EB1-7F72-D08C-89F4F614C182}"/>
              </a:ext>
            </a:extLst>
          </p:cNvPr>
          <p:cNvSpPr txBox="1"/>
          <p:nvPr/>
        </p:nvSpPr>
        <p:spPr>
          <a:xfrm>
            <a:off x="270069" y="2098605"/>
            <a:ext cx="400983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 err="1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GoHailing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!, a provider of on-demand transportation services, is facing intense competition due to the rise of new players with the same business model, increasing market pressure.</a:t>
            </a:r>
            <a:endParaRPr kumimoji="0" lang="en-US" sz="14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F7DF25A-FFBE-70DD-FF05-E9B13B6A4C0D}"/>
              </a:ext>
            </a:extLst>
          </p:cNvPr>
          <p:cNvSpPr txBox="1"/>
          <p:nvPr/>
        </p:nvSpPr>
        <p:spPr>
          <a:xfrm>
            <a:off x="270069" y="6409325"/>
            <a:ext cx="719438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: The case study and data presented in this slide are hypothetical and created for illustrative purposes only</a:t>
            </a:r>
            <a:endParaRPr lang="en-ID" sz="11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18A9ECD9-8FF2-BF87-892B-B13805411BA0}"/>
              </a:ext>
            </a:extLst>
          </p:cNvPr>
          <p:cNvCxnSpPr>
            <a:cxnSpLocks/>
          </p:cNvCxnSpPr>
          <p:nvPr/>
        </p:nvCxnSpPr>
        <p:spPr>
          <a:xfrm>
            <a:off x="345057" y="2050939"/>
            <a:ext cx="3706243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1EAE090-1E5C-B2CB-380E-7DE84253CADF}"/>
              </a:ext>
            </a:extLst>
          </p:cNvPr>
          <p:cNvCxnSpPr>
            <a:cxnSpLocks/>
          </p:cNvCxnSpPr>
          <p:nvPr/>
        </p:nvCxnSpPr>
        <p:spPr>
          <a:xfrm>
            <a:off x="345057" y="1370913"/>
            <a:ext cx="11590003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37E9459-5F09-EB92-3172-BD9BB3272F15}"/>
              </a:ext>
            </a:extLst>
          </p:cNvPr>
          <p:cNvCxnSpPr>
            <a:cxnSpLocks/>
          </p:cNvCxnSpPr>
          <p:nvPr/>
        </p:nvCxnSpPr>
        <p:spPr>
          <a:xfrm>
            <a:off x="4556974" y="2050939"/>
            <a:ext cx="3509556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9" name="Group 98">
            <a:extLst>
              <a:ext uri="{FF2B5EF4-FFF2-40B4-BE49-F238E27FC236}">
                <a16:creationId xmlns:a16="http://schemas.microsoft.com/office/drawing/2014/main" id="{D8008FF8-A2E6-712A-3B9A-D87D01284CD0}"/>
              </a:ext>
            </a:extLst>
          </p:cNvPr>
          <p:cNvGrpSpPr/>
          <p:nvPr/>
        </p:nvGrpSpPr>
        <p:grpSpPr>
          <a:xfrm>
            <a:off x="8424419" y="1702068"/>
            <a:ext cx="3940959" cy="369332"/>
            <a:chOff x="4656776" y="1264511"/>
            <a:chExt cx="3940959" cy="369332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BB486790-03E7-B8B8-3A9F-CECFB7C725D8}"/>
                </a:ext>
              </a:extLst>
            </p:cNvPr>
            <p:cNvSpPr txBox="1"/>
            <p:nvPr/>
          </p:nvSpPr>
          <p:spPr>
            <a:xfrm>
              <a:off x="4656776" y="1264511"/>
              <a:ext cx="39409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EMprint" panose="020B0503020204020204" pitchFamily="34" charset="0"/>
                  <a:cs typeface="Arial" panose="020B0604020202020204" pitchFamily="34" charset="0"/>
                </a:rPr>
                <a:t>Productivity decreases</a:t>
              </a:r>
              <a:endParaRPr kumimoji="0" lang="en-US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CE057564-4AC8-39A7-7F90-2076C0B17D82}"/>
                </a:ext>
              </a:extLst>
            </p:cNvPr>
            <p:cNvCxnSpPr>
              <a:cxnSpLocks/>
            </p:cNvCxnSpPr>
            <p:nvPr/>
          </p:nvCxnSpPr>
          <p:spPr>
            <a:xfrm>
              <a:off x="4744892" y="1621345"/>
              <a:ext cx="3343581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CB1F033A-3A8E-E0FD-7B2E-C189C97EA4B1}"/>
              </a:ext>
            </a:extLst>
          </p:cNvPr>
          <p:cNvSpPr txBox="1"/>
          <p:nvPr/>
        </p:nvSpPr>
        <p:spPr>
          <a:xfrm>
            <a:off x="4460515" y="2098605"/>
            <a:ext cx="386744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Go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-Hailing saw its revenue declining by </a:t>
            </a:r>
            <a:r>
              <a:rPr lang="en-US" sz="14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35%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over the past few years, significantly threatening its sustainability amid rising costs.</a:t>
            </a:r>
            <a:endParaRPr kumimoji="0" lang="en-US" sz="14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CEEBB9D-F9DA-76E0-B607-B90F3A0017CE}"/>
              </a:ext>
            </a:extLst>
          </p:cNvPr>
          <p:cNvSpPr txBox="1"/>
          <p:nvPr/>
        </p:nvSpPr>
        <p:spPr>
          <a:xfrm>
            <a:off x="8407533" y="2098605"/>
            <a:ext cx="361257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GoHailing</a:t>
            </a:r>
            <a:r>
              <a:rPr lang="en-US" sz="14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’s business productivity has declined significantly compared to industry benchmarks, signaling increased customer and driver partner churn.</a:t>
            </a:r>
            <a:endParaRPr kumimoji="0" lang="en-US" sz="14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C49BF47A-BAF7-9786-04D9-C47AB75F2EA4}"/>
              </a:ext>
            </a:extLst>
          </p:cNvPr>
          <p:cNvCxnSpPr>
            <a:cxnSpLocks/>
          </p:cNvCxnSpPr>
          <p:nvPr/>
        </p:nvCxnSpPr>
        <p:spPr>
          <a:xfrm>
            <a:off x="4623413" y="4607011"/>
            <a:ext cx="3340342" cy="41249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BE8CCF1C-2898-F8B9-5C1D-D4FFB40ECAD5}"/>
              </a:ext>
            </a:extLst>
          </p:cNvPr>
          <p:cNvSpPr/>
          <p:nvPr/>
        </p:nvSpPr>
        <p:spPr>
          <a:xfrm>
            <a:off x="5824501" y="4665631"/>
            <a:ext cx="831901" cy="320105"/>
          </a:xfrm>
          <a:prstGeom prst="roundRect">
            <a:avLst/>
          </a:prstGeom>
          <a:solidFill>
            <a:srgbClr val="C0000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Georgia" panose="02040502050405020303" pitchFamily="18" charset="0"/>
              </a:rPr>
              <a:t>-35%</a:t>
            </a:r>
            <a:endParaRPr lang="en-ID" sz="1400" b="1" dirty="0">
              <a:latin typeface="Georgia" panose="02040502050405020303" pitchFamily="18" charset="0"/>
            </a:endParaRPr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039E66D5-7771-0F95-F605-ECCA1CB657B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08937" y="4850182"/>
            <a:ext cx="1255489" cy="352819"/>
          </a:xfrm>
          <a:prstGeom prst="rect">
            <a:avLst/>
          </a:prstGeom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id="{3A0B7EEA-C04C-6C61-ECAA-1BC67A79F94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26563" y="4762039"/>
            <a:ext cx="1086283" cy="514926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397E3384-F2EE-6C68-8869-115AEE9F212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7020" y="4727397"/>
            <a:ext cx="679929" cy="674893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F879EBFB-9B9C-6EB3-0645-50F506E60BB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545189" y="5402290"/>
            <a:ext cx="727505" cy="686169"/>
          </a:xfrm>
          <a:prstGeom prst="rect">
            <a:avLst/>
          </a:prstGeom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1A211020-E6CE-B4CC-6190-AB2EB35BC7D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288488" y="5475748"/>
            <a:ext cx="761893" cy="612711"/>
          </a:xfrm>
          <a:prstGeom prst="rect">
            <a:avLst/>
          </a:prstGeom>
        </p:spPr>
      </p:pic>
      <p:sp>
        <p:nvSpPr>
          <p:cNvPr id="108" name="TextBox 107">
            <a:extLst>
              <a:ext uri="{FF2B5EF4-FFF2-40B4-BE49-F238E27FC236}">
                <a16:creationId xmlns:a16="http://schemas.microsoft.com/office/drawing/2014/main" id="{5233948A-9214-A255-618C-7D3E7A76943B}"/>
              </a:ext>
            </a:extLst>
          </p:cNvPr>
          <p:cNvSpPr txBox="1"/>
          <p:nvPr/>
        </p:nvSpPr>
        <p:spPr>
          <a:xfrm>
            <a:off x="4460515" y="3217023"/>
            <a:ext cx="40098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Go-Hailing revenue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, in IDR Bn</a:t>
            </a: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2020</a:t>
            </a:r>
            <a:r>
              <a:rPr lang="en-US" sz="12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- 2024</a:t>
            </a:r>
            <a:endParaRPr kumimoji="0" lang="en-US" sz="120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137AA461-F2F2-2430-E579-7856D67A36EE}"/>
              </a:ext>
            </a:extLst>
          </p:cNvPr>
          <p:cNvSpPr txBox="1"/>
          <p:nvPr/>
        </p:nvSpPr>
        <p:spPr>
          <a:xfrm>
            <a:off x="8424419" y="3217023"/>
            <a:ext cx="40098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Productivity competition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, in rides per hour</a:t>
            </a: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2020</a:t>
            </a:r>
            <a:r>
              <a:rPr lang="en-US" sz="12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- 2024</a:t>
            </a:r>
            <a:endParaRPr kumimoji="0" lang="en-US" sz="120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229CDFD3-6F35-6919-7A1D-F5006E09EC69}"/>
              </a:ext>
            </a:extLst>
          </p:cNvPr>
          <p:cNvSpPr txBox="1"/>
          <p:nvPr/>
        </p:nvSpPr>
        <p:spPr>
          <a:xfrm>
            <a:off x="2152012" y="3456358"/>
            <a:ext cx="16978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A8F3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Go</a:t>
            </a:r>
          </a:p>
          <a:p>
            <a:r>
              <a:rPr lang="en-US" b="1" dirty="0">
                <a:solidFill>
                  <a:srgbClr val="00A8F3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Hailing!</a:t>
            </a:r>
            <a:endParaRPr lang="en-ID" b="1" dirty="0">
              <a:solidFill>
                <a:srgbClr val="00A8F3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C1B18FD9-A8A0-ABAC-3531-906953014777}"/>
              </a:ext>
            </a:extLst>
          </p:cNvPr>
          <p:cNvCxnSpPr>
            <a:cxnSpLocks/>
          </p:cNvCxnSpPr>
          <p:nvPr/>
        </p:nvCxnSpPr>
        <p:spPr>
          <a:xfrm>
            <a:off x="8589187" y="4519306"/>
            <a:ext cx="0" cy="144904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EDFCE953-1376-904B-4B9F-C4952DF0CA72}"/>
              </a:ext>
            </a:extLst>
          </p:cNvPr>
          <p:cNvCxnSpPr>
            <a:cxnSpLocks/>
          </p:cNvCxnSpPr>
          <p:nvPr/>
        </p:nvCxnSpPr>
        <p:spPr>
          <a:xfrm>
            <a:off x="10055317" y="4273045"/>
            <a:ext cx="0" cy="16953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419A49BD-26AE-30CC-3DD8-12D4641B9FD6}"/>
              </a:ext>
            </a:extLst>
          </p:cNvPr>
          <p:cNvCxnSpPr>
            <a:cxnSpLocks/>
          </p:cNvCxnSpPr>
          <p:nvPr/>
        </p:nvCxnSpPr>
        <p:spPr>
          <a:xfrm>
            <a:off x="11691520" y="4519306"/>
            <a:ext cx="0" cy="144904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2" name="Picture 121">
            <a:extLst>
              <a:ext uri="{FF2B5EF4-FFF2-40B4-BE49-F238E27FC236}">
                <a16:creationId xmlns:a16="http://schemas.microsoft.com/office/drawing/2014/main" id="{68E0A094-462F-0B1C-1C8B-92E67EA541E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235973" y="3327893"/>
            <a:ext cx="953456" cy="879444"/>
          </a:xfrm>
          <a:prstGeom prst="rect">
            <a:avLst/>
          </a:prstGeom>
        </p:spPr>
      </p:pic>
      <p:sp>
        <p:nvSpPr>
          <p:cNvPr id="126" name="TextBox 125">
            <a:extLst>
              <a:ext uri="{FF2B5EF4-FFF2-40B4-BE49-F238E27FC236}">
                <a16:creationId xmlns:a16="http://schemas.microsoft.com/office/drawing/2014/main" id="{3C5CEE49-E606-EF4A-5DD4-C9BA0D791E5D}"/>
              </a:ext>
            </a:extLst>
          </p:cNvPr>
          <p:cNvSpPr txBox="1"/>
          <p:nvPr/>
        </p:nvSpPr>
        <p:spPr>
          <a:xfrm>
            <a:off x="10714782" y="3662106"/>
            <a:ext cx="19534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051C2C"/>
                </a:solidFill>
                <a:latin typeface="Georgia" panose="02040502050405020303" pitchFamily="18" charset="0"/>
                <a:ea typeface="Tahoma" panose="020B0604030504040204" pitchFamily="34" charset="0"/>
                <a:cs typeface="Arial" panose="020B0604020202020204" pitchFamily="34" charset="0"/>
              </a:rPr>
              <a:t>Industry Benchmark</a:t>
            </a:r>
            <a:endParaRPr lang="en-ID" sz="1100" dirty="0">
              <a:solidFill>
                <a:srgbClr val="051C2C"/>
              </a:solidFill>
              <a:latin typeface="Georgia" panose="02040502050405020303" pitchFamily="18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7A7EE6DB-48AD-63E6-86BF-C5B7FF414755}"/>
              </a:ext>
            </a:extLst>
          </p:cNvPr>
          <p:cNvSpPr txBox="1"/>
          <p:nvPr/>
        </p:nvSpPr>
        <p:spPr>
          <a:xfrm>
            <a:off x="11274958" y="4732788"/>
            <a:ext cx="9946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err="1">
                <a:solidFill>
                  <a:srgbClr val="00A8F3"/>
                </a:solidFill>
                <a:latin typeface="Georgia" panose="02040502050405020303" pitchFamily="18" charset="0"/>
                <a:ea typeface="Tahoma" panose="020B0604030504040204" pitchFamily="34" charset="0"/>
                <a:cs typeface="Arial" panose="020B0604020202020204" pitchFamily="34" charset="0"/>
              </a:rPr>
              <a:t>GoHailing</a:t>
            </a:r>
            <a:r>
              <a:rPr lang="en-US" sz="1100" dirty="0">
                <a:solidFill>
                  <a:srgbClr val="00A8F3"/>
                </a:solidFill>
                <a:latin typeface="Georgia" panose="02040502050405020303" pitchFamily="18" charset="0"/>
                <a:ea typeface="Tahoma" panose="020B0604030504040204" pitchFamily="34" charset="0"/>
                <a:cs typeface="Arial" panose="020B0604020202020204" pitchFamily="34" charset="0"/>
              </a:rPr>
              <a:t>!</a:t>
            </a:r>
            <a:endParaRPr lang="en-ID" sz="1100" b="1" dirty="0">
              <a:solidFill>
                <a:srgbClr val="00A8F3"/>
              </a:solidFill>
              <a:latin typeface="Georgia" panose="02040502050405020303" pitchFamily="18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7" name="Chart 96">
            <a:extLst>
              <a:ext uri="{FF2B5EF4-FFF2-40B4-BE49-F238E27FC236}">
                <a16:creationId xmlns:a16="http://schemas.microsoft.com/office/drawing/2014/main" id="{5BBF045A-9777-A7AE-0D9D-5C33EDCDC7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5831180"/>
              </p:ext>
            </p:extLst>
          </p:nvPr>
        </p:nvGraphicFramePr>
        <p:xfrm>
          <a:off x="8269038" y="3556750"/>
          <a:ext cx="3751063" cy="2777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28" name="TextBox 127">
            <a:extLst>
              <a:ext uri="{FF2B5EF4-FFF2-40B4-BE49-F238E27FC236}">
                <a16:creationId xmlns:a16="http://schemas.microsoft.com/office/drawing/2014/main" id="{AB39570E-E1FF-24FE-8B38-20945E037BB5}"/>
              </a:ext>
            </a:extLst>
          </p:cNvPr>
          <p:cNvSpPr txBox="1"/>
          <p:nvPr/>
        </p:nvSpPr>
        <p:spPr>
          <a:xfrm>
            <a:off x="1655265" y="4369357"/>
            <a:ext cx="12410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competitor</a:t>
            </a:r>
          </a:p>
        </p:txBody>
      </p:sp>
    </p:spTree>
    <p:extLst>
      <p:ext uri="{BB962C8B-B14F-4D97-AF65-F5344CB8AC3E}">
        <p14:creationId xmlns:p14="http://schemas.microsoft.com/office/powerpoint/2010/main" val="3556811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51C2C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69A491E-9F8E-E396-6FFE-71BFBB630F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E980650F-C064-FE8D-640F-8A1ABF5CE64D}"/>
              </a:ext>
            </a:extLst>
          </p:cNvPr>
          <p:cNvSpPr txBox="1"/>
          <p:nvPr/>
        </p:nvSpPr>
        <p:spPr>
          <a:xfrm>
            <a:off x="615019" y="1784128"/>
            <a:ext cx="33244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Customer </a:t>
            </a: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nsights</a:t>
            </a:r>
            <a:endParaRPr kumimoji="0" lang="en-US" sz="16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FC63DE0-043A-718F-EE34-1731A3A8E4D9}"/>
              </a:ext>
            </a:extLst>
          </p:cNvPr>
          <p:cNvGrpSpPr/>
          <p:nvPr/>
        </p:nvGrpSpPr>
        <p:grpSpPr>
          <a:xfrm>
            <a:off x="10283354" y="6470881"/>
            <a:ext cx="1736750" cy="139126"/>
            <a:chOff x="9901276" y="6498754"/>
            <a:chExt cx="1736750" cy="139126"/>
          </a:xfrm>
        </p:grpSpPr>
        <p:sp>
          <p:nvSpPr>
            <p:cNvPr id="5" name="SlideLogoText">
              <a:extLst>
                <a:ext uri="{FF2B5EF4-FFF2-40B4-BE49-F238E27FC236}">
                  <a16:creationId xmlns:a16="http://schemas.microsoft.com/office/drawing/2014/main" id="{019A30BC-2660-93E3-BC9C-BABC4AAE0678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9901276" y="6499381"/>
              <a:ext cx="1617430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6" name="Slide Number">
              <a:extLst>
                <a:ext uri="{FF2B5EF4-FFF2-40B4-BE49-F238E27FC236}">
                  <a16:creationId xmlns:a16="http://schemas.microsoft.com/office/drawing/2014/main" id="{46522AC0-7F2A-5832-B00B-2E227F7DD043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4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826F4638-3F93-035E-75B6-A536D1E40729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3B620E1-E639-06AB-A8D6-9E7D11E66101}"/>
              </a:ext>
            </a:extLst>
          </p:cNvPr>
          <p:cNvSpPr txBox="1"/>
          <p:nvPr/>
        </p:nvSpPr>
        <p:spPr>
          <a:xfrm>
            <a:off x="206943" y="478058"/>
            <a:ext cx="1198505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What kind of data that can help </a:t>
            </a:r>
            <a:r>
              <a:rPr lang="en-US" sz="2400" b="1" dirty="0" err="1">
                <a:solidFill>
                  <a:schemeClr val="bg1"/>
                </a:solidFill>
                <a:latin typeface="Georgia" panose="02040502050405020303" pitchFamily="18" charset="0"/>
                <a:ea typeface="Tahoma" panose="020B0604030504040204" pitchFamily="34" charset="0"/>
              </a:rPr>
              <a:t>GoHailing</a:t>
            </a:r>
            <a:r>
              <a:rPr lang="en-US" sz="2400" b="1" dirty="0">
                <a:solidFill>
                  <a:schemeClr val="bg1"/>
                </a:solidFill>
                <a:latin typeface="Georgia" panose="02040502050405020303" pitchFamily="18" charset="0"/>
                <a:ea typeface="Tahoma" panose="020B0604030504040204" pitchFamily="34" charset="0"/>
              </a:rPr>
              <a:t> in </a:t>
            </a: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navigating those risks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As competition intensifies, collecting insights from customers and drivers is crucial for developing an effective contingency plan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C03E608-0320-0CDF-1656-2D83AAEEC776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28C1092E-F456-DA11-CDE8-6A6E1D230B15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25964C00-A3A8-7DE8-530D-47E9FE51EE2C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Background and Study Case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4A995AB9-CFA5-CD08-EDFE-122A0553E8B6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9010127A-0F30-1542-DF37-A06C740AD76F}"/>
              </a:ext>
            </a:extLst>
          </p:cNvPr>
          <p:cNvSpPr txBox="1"/>
          <p:nvPr/>
        </p:nvSpPr>
        <p:spPr>
          <a:xfrm>
            <a:off x="270069" y="2248791"/>
            <a:ext cx="400983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How many customers that are rarely using the app? How can we stimulate them to use more our app?</a:t>
            </a:r>
          </a:p>
          <a:p>
            <a:pPr marR="0" lvl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What is </a:t>
            </a:r>
            <a:r>
              <a:rPr kumimoji="0" lang="en-US" sz="1400" b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the ratio of cancelled rides </a:t>
            </a: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compared to completed rides?</a:t>
            </a: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lang="en-US" sz="1400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How much is the 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potential revenue loss 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ue to canceled rides?</a:t>
            </a:r>
            <a:endParaRPr kumimoji="0" lang="en-US" sz="140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C4FF63D-6F75-C4B4-F7B5-0D8E4375E33F}"/>
              </a:ext>
            </a:extLst>
          </p:cNvPr>
          <p:cNvSpPr txBox="1"/>
          <p:nvPr/>
        </p:nvSpPr>
        <p:spPr>
          <a:xfrm>
            <a:off x="270069" y="6409325"/>
            <a:ext cx="719438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: The case study and data presented in this slide are hypothetical and created for illustrative purposes only</a:t>
            </a:r>
            <a:endParaRPr lang="en-ID" sz="11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BDA04EE-EAF5-1985-1D12-4F4333D42212}"/>
              </a:ext>
            </a:extLst>
          </p:cNvPr>
          <p:cNvCxnSpPr>
            <a:cxnSpLocks/>
          </p:cNvCxnSpPr>
          <p:nvPr/>
        </p:nvCxnSpPr>
        <p:spPr>
          <a:xfrm>
            <a:off x="345057" y="2201125"/>
            <a:ext cx="3706243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742F3B3-31AF-FC14-CD7E-A38E95462EFE}"/>
              </a:ext>
            </a:extLst>
          </p:cNvPr>
          <p:cNvCxnSpPr>
            <a:cxnSpLocks/>
          </p:cNvCxnSpPr>
          <p:nvPr/>
        </p:nvCxnSpPr>
        <p:spPr>
          <a:xfrm>
            <a:off x="345057" y="1370913"/>
            <a:ext cx="11590003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85D9E2BA-E1A5-5A80-5602-76DAF93A2768}"/>
              </a:ext>
            </a:extLst>
          </p:cNvPr>
          <p:cNvSpPr txBox="1"/>
          <p:nvPr/>
        </p:nvSpPr>
        <p:spPr>
          <a:xfrm>
            <a:off x="8424419" y="1777836"/>
            <a:ext cx="39409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Contingency Plan</a:t>
            </a:r>
            <a:endParaRPr kumimoji="0" lang="en-US" sz="16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E2E28941-9065-49DC-ED64-30C3328DC6CD}"/>
              </a:ext>
            </a:extLst>
          </p:cNvPr>
          <p:cNvCxnSpPr>
            <a:cxnSpLocks/>
          </p:cNvCxnSpPr>
          <p:nvPr/>
        </p:nvCxnSpPr>
        <p:spPr>
          <a:xfrm>
            <a:off x="8512535" y="2209088"/>
            <a:ext cx="3343581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4F6122E7-981F-3D15-93E0-4CBB974F38BF}"/>
              </a:ext>
            </a:extLst>
          </p:cNvPr>
          <p:cNvSpPr txBox="1"/>
          <p:nvPr/>
        </p:nvSpPr>
        <p:spPr>
          <a:xfrm>
            <a:off x="8407533" y="2248791"/>
            <a:ext cx="36125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With all these data available, </a:t>
            </a:r>
            <a:r>
              <a:rPr kumimoji="0" lang="en-US" sz="140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GoHailing</a:t>
            </a: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! can formulate contingency plan to mitigate the risks, it could be through: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5BBD55D-E312-F662-BA7F-D0C6996ED888}"/>
              </a:ext>
            </a:extLst>
          </p:cNvPr>
          <p:cNvSpPr txBox="1"/>
          <p:nvPr/>
        </p:nvSpPr>
        <p:spPr>
          <a:xfrm>
            <a:off x="4293028" y="2248791"/>
            <a:ext cx="400983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How many 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rivers that are currently registered 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within the database?</a:t>
            </a:r>
          </a:p>
          <a:p>
            <a:pPr marR="0" lvl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What is the </a:t>
            </a:r>
            <a:r>
              <a:rPr kumimoji="0" lang="en-US" sz="1400" b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ratio of idle driver </a:t>
            </a: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compared to the active ones in generating revenue?</a:t>
            </a: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lang="en-US" sz="1400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How can we stimulate driver to be more active and gain more revenue?</a:t>
            </a:r>
            <a:endParaRPr kumimoji="0" lang="en-US" sz="140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D89EAF5-3209-1462-3ABF-44A56F347A04}"/>
              </a:ext>
            </a:extLst>
          </p:cNvPr>
          <p:cNvCxnSpPr>
            <a:cxnSpLocks/>
          </p:cNvCxnSpPr>
          <p:nvPr/>
        </p:nvCxnSpPr>
        <p:spPr>
          <a:xfrm>
            <a:off x="4368016" y="2201125"/>
            <a:ext cx="3706243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CB77535-ADCB-3C56-9265-F0947D7FCE35}"/>
              </a:ext>
            </a:extLst>
          </p:cNvPr>
          <p:cNvCxnSpPr>
            <a:cxnSpLocks/>
          </p:cNvCxnSpPr>
          <p:nvPr/>
        </p:nvCxnSpPr>
        <p:spPr>
          <a:xfrm>
            <a:off x="8294721" y="1784895"/>
            <a:ext cx="0" cy="239503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A72EE4F8-8584-B84E-6546-56D031116F56}"/>
              </a:ext>
            </a:extLst>
          </p:cNvPr>
          <p:cNvSpPr/>
          <p:nvPr/>
        </p:nvSpPr>
        <p:spPr>
          <a:xfrm>
            <a:off x="8120761" y="2664843"/>
            <a:ext cx="314585" cy="314585"/>
          </a:xfrm>
          <a:prstGeom prst="ellipse">
            <a:avLst/>
          </a:prstGeom>
          <a:solidFill>
            <a:srgbClr val="163E6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&gt;</a:t>
            </a:r>
            <a:endParaRPr lang="en-ID" dirty="0"/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CA038FBA-8ED5-4DB9-A6EA-65529F86F6FF}"/>
              </a:ext>
            </a:extLst>
          </p:cNvPr>
          <p:cNvSpPr/>
          <p:nvPr/>
        </p:nvSpPr>
        <p:spPr>
          <a:xfrm>
            <a:off x="294884" y="4889206"/>
            <a:ext cx="11605900" cy="95681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ly these data are 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available.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Hailing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 must develop 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robust and scalable data pipeline 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provide 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onable insights 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better 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 making 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ough 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Engineering</a:t>
            </a:r>
            <a:endParaRPr lang="en-ID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70989FD3-ED1B-2473-2590-7A81430A6F5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999301" y="3130554"/>
            <a:ext cx="631089" cy="321388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549D656F-86B2-5B68-0F81-2D57ACCBE0C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607055" y="3025246"/>
            <a:ext cx="565425" cy="544864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D1F374E2-108D-67B8-2CA5-0B0808AE619C}"/>
              </a:ext>
            </a:extLst>
          </p:cNvPr>
          <p:cNvSpPr txBox="1"/>
          <p:nvPr/>
        </p:nvSpPr>
        <p:spPr>
          <a:xfrm>
            <a:off x="8476964" y="3517845"/>
            <a:ext cx="17073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river incentives program</a:t>
            </a:r>
            <a:endParaRPr kumimoji="0" lang="en-US" sz="1400" b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50D0A4A-68FC-6A0F-4DD8-96A51BFC3526}"/>
              </a:ext>
            </a:extLst>
          </p:cNvPr>
          <p:cNvSpPr txBox="1"/>
          <p:nvPr/>
        </p:nvSpPr>
        <p:spPr>
          <a:xfrm>
            <a:off x="10139581" y="3517845"/>
            <a:ext cx="17073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Customer promo program</a:t>
            </a:r>
            <a:endParaRPr kumimoji="0" lang="en-US" sz="1400" b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Hexagon 38">
            <a:extLst>
              <a:ext uri="{FF2B5EF4-FFF2-40B4-BE49-F238E27FC236}">
                <a16:creationId xmlns:a16="http://schemas.microsoft.com/office/drawing/2014/main" id="{A48FEFC8-F9A5-E7D4-E986-C0820BBBF69F}"/>
              </a:ext>
            </a:extLst>
          </p:cNvPr>
          <p:cNvSpPr/>
          <p:nvPr/>
        </p:nvSpPr>
        <p:spPr>
          <a:xfrm rot="5400000">
            <a:off x="338369" y="1821820"/>
            <a:ext cx="309908" cy="296532"/>
          </a:xfrm>
          <a:prstGeom prst="hexagon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b="1" dirty="0">
              <a:solidFill>
                <a:srgbClr val="051C2C"/>
              </a:solidFill>
              <a:latin typeface="Georgia" panose="02040502050405020303" pitchFamily="18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25EB049-3987-AECA-3103-47D552E85014}"/>
              </a:ext>
            </a:extLst>
          </p:cNvPr>
          <p:cNvSpPr txBox="1"/>
          <p:nvPr/>
        </p:nvSpPr>
        <p:spPr>
          <a:xfrm>
            <a:off x="351777" y="1806444"/>
            <a:ext cx="2856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51C2C"/>
                </a:solidFill>
                <a:latin typeface="Georgia" panose="02040502050405020303" pitchFamily="18" charset="0"/>
              </a:rPr>
              <a:t>1</a:t>
            </a:r>
            <a:endParaRPr lang="en-ID" sz="1600" b="1" dirty="0">
              <a:solidFill>
                <a:srgbClr val="051C2C"/>
              </a:solidFill>
              <a:latin typeface="Georgia" panose="02040502050405020303" pitchFamily="18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32AFAB1-EB8E-2083-FF5E-1D64F4BC8E89}"/>
              </a:ext>
            </a:extLst>
          </p:cNvPr>
          <p:cNvSpPr txBox="1"/>
          <p:nvPr/>
        </p:nvSpPr>
        <p:spPr>
          <a:xfrm>
            <a:off x="4601927" y="1784128"/>
            <a:ext cx="33244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river</a:t>
            </a: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insights</a:t>
            </a:r>
            <a:endParaRPr kumimoji="0" lang="en-US" sz="16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Hexagon 45">
            <a:extLst>
              <a:ext uri="{FF2B5EF4-FFF2-40B4-BE49-F238E27FC236}">
                <a16:creationId xmlns:a16="http://schemas.microsoft.com/office/drawing/2014/main" id="{8170A626-96D3-D3A2-564C-687DEB7AB851}"/>
              </a:ext>
            </a:extLst>
          </p:cNvPr>
          <p:cNvSpPr/>
          <p:nvPr/>
        </p:nvSpPr>
        <p:spPr>
          <a:xfrm rot="5400000">
            <a:off x="4325277" y="1821820"/>
            <a:ext cx="309908" cy="296532"/>
          </a:xfrm>
          <a:prstGeom prst="hexagon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b="1" dirty="0">
              <a:solidFill>
                <a:srgbClr val="051C2C"/>
              </a:solidFill>
              <a:latin typeface="Georgia" panose="02040502050405020303" pitchFamily="18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BD9121E-86EC-C47A-F7CF-16522BC0C7DF}"/>
              </a:ext>
            </a:extLst>
          </p:cNvPr>
          <p:cNvSpPr txBox="1"/>
          <p:nvPr/>
        </p:nvSpPr>
        <p:spPr>
          <a:xfrm>
            <a:off x="4338685" y="1806444"/>
            <a:ext cx="3129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51C2C"/>
                </a:solidFill>
                <a:latin typeface="Georgia" panose="02040502050405020303" pitchFamily="18" charset="0"/>
              </a:rPr>
              <a:t>2</a:t>
            </a:r>
            <a:endParaRPr lang="en-ID" sz="1600" b="1" dirty="0">
              <a:solidFill>
                <a:srgbClr val="051C2C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60890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65000">
              <a:srgbClr val="051C39"/>
            </a:gs>
            <a:gs pos="100000">
              <a:srgbClr val="133190"/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B967A3A-FF77-2620-FDA4-1F97931BCA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84C6E43-E24E-CAF3-B275-D24E091D1F3E}"/>
              </a:ext>
            </a:extLst>
          </p:cNvPr>
          <p:cNvGrpSpPr/>
          <p:nvPr/>
        </p:nvGrpSpPr>
        <p:grpSpPr>
          <a:xfrm>
            <a:off x="10283354" y="6470881"/>
            <a:ext cx="1736750" cy="139126"/>
            <a:chOff x="9901276" y="6498754"/>
            <a:chExt cx="1736750" cy="139126"/>
          </a:xfrm>
        </p:grpSpPr>
        <p:sp>
          <p:nvSpPr>
            <p:cNvPr id="5" name="SlideLogoText">
              <a:extLst>
                <a:ext uri="{FF2B5EF4-FFF2-40B4-BE49-F238E27FC236}">
                  <a16:creationId xmlns:a16="http://schemas.microsoft.com/office/drawing/2014/main" id="{19ECDE69-0268-AF07-DCB2-5CAB4B5F9A6B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9901276" y="6499381"/>
              <a:ext cx="1617430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6" name="Slide Number">
              <a:extLst>
                <a:ext uri="{FF2B5EF4-FFF2-40B4-BE49-F238E27FC236}">
                  <a16:creationId xmlns:a16="http://schemas.microsoft.com/office/drawing/2014/main" id="{F9DE70FF-B097-8179-7107-FB9A29BE918A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5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1D919DD5-4D6A-ED8B-549E-5EE4091648FE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AA84B92-4F82-8205-E63B-CADD29618491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46503FB6-A7B9-78FC-9D31-B26163A3A869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A4C59D76-1F2B-73A5-42EF-A6310E988CDE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Background and Study Case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72095C45-B088-9C1C-459E-93156DA2F1C7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sp>
        <p:nvSpPr>
          <p:cNvPr id="103" name="TextBox 102">
            <a:extLst>
              <a:ext uri="{FF2B5EF4-FFF2-40B4-BE49-F238E27FC236}">
                <a16:creationId xmlns:a16="http://schemas.microsoft.com/office/drawing/2014/main" id="{B78E0B0B-6FAF-4B34-062E-F79C0B407897}"/>
              </a:ext>
            </a:extLst>
          </p:cNvPr>
          <p:cNvSpPr txBox="1"/>
          <p:nvPr/>
        </p:nvSpPr>
        <p:spPr>
          <a:xfrm>
            <a:off x="206943" y="478058"/>
            <a:ext cx="119850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Three project deliverables for Data Engineer were set to optimize building data pipeline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DA9A5EA3-A1CC-51D9-961F-C43E638C01A5}"/>
              </a:ext>
            </a:extLst>
          </p:cNvPr>
          <p:cNvCxnSpPr>
            <a:cxnSpLocks/>
          </p:cNvCxnSpPr>
          <p:nvPr/>
        </p:nvCxnSpPr>
        <p:spPr>
          <a:xfrm>
            <a:off x="300998" y="1370913"/>
            <a:ext cx="11590003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1F1C8F87-8BDF-410D-F96F-9B28537C620B}"/>
              </a:ext>
            </a:extLst>
          </p:cNvPr>
          <p:cNvSpPr txBox="1"/>
          <p:nvPr/>
        </p:nvSpPr>
        <p:spPr>
          <a:xfrm>
            <a:off x="604450" y="2667503"/>
            <a:ext cx="33244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esign pipeline architecture</a:t>
            </a:r>
            <a:endParaRPr kumimoji="0" lang="en-US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E9391D27-BC83-69C9-CDD0-E0EDA42D4578}"/>
              </a:ext>
            </a:extLst>
          </p:cNvPr>
          <p:cNvCxnSpPr>
            <a:cxnSpLocks/>
          </p:cNvCxnSpPr>
          <p:nvPr/>
        </p:nvCxnSpPr>
        <p:spPr>
          <a:xfrm>
            <a:off x="703774" y="3036835"/>
            <a:ext cx="3382952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892589C2-98DB-29FC-B12B-E4568F30579C}"/>
              </a:ext>
            </a:extLst>
          </p:cNvPr>
          <p:cNvSpPr txBox="1"/>
          <p:nvPr/>
        </p:nvSpPr>
        <p:spPr>
          <a:xfrm>
            <a:off x="4453009" y="2362353"/>
            <a:ext cx="33244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Build automation logic flow</a:t>
            </a:r>
            <a:endParaRPr kumimoji="0" lang="en-US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33FE6A20-A15D-4FFD-572A-CC93FDBEC0FC}"/>
              </a:ext>
            </a:extLst>
          </p:cNvPr>
          <p:cNvCxnSpPr>
            <a:cxnSpLocks/>
          </p:cNvCxnSpPr>
          <p:nvPr/>
        </p:nvCxnSpPr>
        <p:spPr>
          <a:xfrm>
            <a:off x="4552333" y="2731685"/>
            <a:ext cx="3384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36ED96FE-F47A-A358-5D6B-13BECC791E15}"/>
              </a:ext>
            </a:extLst>
          </p:cNvPr>
          <p:cNvSpPr txBox="1"/>
          <p:nvPr/>
        </p:nvSpPr>
        <p:spPr>
          <a:xfrm>
            <a:off x="8445473" y="2130098"/>
            <a:ext cx="33244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Result effectiveness</a:t>
            </a:r>
            <a:endParaRPr kumimoji="0" lang="en-US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781861C5-70D3-3540-AB08-F74204701902}"/>
              </a:ext>
            </a:extLst>
          </p:cNvPr>
          <p:cNvCxnSpPr>
            <a:cxnSpLocks/>
          </p:cNvCxnSpPr>
          <p:nvPr/>
        </p:nvCxnSpPr>
        <p:spPr>
          <a:xfrm>
            <a:off x="8544797" y="2499430"/>
            <a:ext cx="3384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8" name="TextBox 117">
            <a:extLst>
              <a:ext uri="{FF2B5EF4-FFF2-40B4-BE49-F238E27FC236}">
                <a16:creationId xmlns:a16="http://schemas.microsoft.com/office/drawing/2014/main" id="{DBDD57B4-9626-EFBE-FA25-77388ED6F757}"/>
              </a:ext>
            </a:extLst>
          </p:cNvPr>
          <p:cNvSpPr txBox="1"/>
          <p:nvPr/>
        </p:nvSpPr>
        <p:spPr>
          <a:xfrm>
            <a:off x="604450" y="2977304"/>
            <a:ext cx="3656446" cy="3607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esignin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g pipeline that’s robust and scalable to meet business needs: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Technology stack selection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: script language, data warehouse, transactional database,  orchestration tools, </a:t>
            </a:r>
            <a:r>
              <a:rPr lang="en-US" sz="1400" dirty="0" err="1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etc</a:t>
            </a:r>
            <a:endParaRPr lang="en-US" sz="1400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ata Processing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: ELT or ETL, etc.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imensional data model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: Star Schema, Snowflake, </a:t>
            </a:r>
            <a:r>
              <a:rPr lang="en-US" sz="1400" dirty="0" err="1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etc</a:t>
            </a:r>
            <a:endParaRPr lang="en-US" sz="1400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ata ingestion method: 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Batch, stream, etc.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2E597272-53F5-24F4-EF70-62C7186D9CCE}"/>
              </a:ext>
            </a:extLst>
          </p:cNvPr>
          <p:cNvSpPr txBox="1"/>
          <p:nvPr/>
        </p:nvSpPr>
        <p:spPr>
          <a:xfrm>
            <a:off x="4462738" y="2731685"/>
            <a:ext cx="3656446" cy="2960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esigning automation logical flow within the data pipeline architecture, </a:t>
            </a:r>
            <a:r>
              <a:rPr kumimoji="0" lang="en-US" sz="140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fo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r example</a:t>
            </a: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: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What happens if error happens when ingesting the data?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What needs to be done if there’s any datatype mismatch between database and data warehouse?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What would happen if the required table has not existed in data warehouse?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465CF6C2-D280-9EE7-F312-9B409D738DAB}"/>
              </a:ext>
            </a:extLst>
          </p:cNvPr>
          <p:cNvSpPr txBox="1"/>
          <p:nvPr/>
        </p:nvSpPr>
        <p:spPr>
          <a:xfrm>
            <a:off x="8493681" y="2446613"/>
            <a:ext cx="3656446" cy="32840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As a data engineer, it’s essential to: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Ensure the data engineering design is well implemented</a:t>
            </a:r>
            <a:endParaRPr kumimoji="0" lang="en-US" sz="140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Ensure the data generated by the pipeline is 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accessible and usable 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for analyst or relevant stakeholders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Enabling data-driven decision making 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by providing actionable insights through well-structured and reliable data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Ensure 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ata privacy 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s secure</a:t>
            </a:r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id="{37F981BE-3283-9DA6-FF8C-81E4F4014E15}"/>
              </a:ext>
            </a:extLst>
          </p:cNvPr>
          <p:cNvSpPr/>
          <p:nvPr/>
        </p:nvSpPr>
        <p:spPr>
          <a:xfrm>
            <a:off x="263203" y="2064949"/>
            <a:ext cx="588393" cy="58839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568E70A6-8491-328E-2233-9673AD565B56}"/>
              </a:ext>
            </a:extLst>
          </p:cNvPr>
          <p:cNvCxnSpPr>
            <a:cxnSpLocks/>
          </p:cNvCxnSpPr>
          <p:nvPr/>
        </p:nvCxnSpPr>
        <p:spPr>
          <a:xfrm>
            <a:off x="544690" y="2653342"/>
            <a:ext cx="0" cy="4005867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7" name="Oval 136">
            <a:extLst>
              <a:ext uri="{FF2B5EF4-FFF2-40B4-BE49-F238E27FC236}">
                <a16:creationId xmlns:a16="http://schemas.microsoft.com/office/drawing/2014/main" id="{D66049F6-8C24-3B7E-2D9C-EC550487301D}"/>
              </a:ext>
            </a:extLst>
          </p:cNvPr>
          <p:cNvSpPr/>
          <p:nvPr/>
        </p:nvSpPr>
        <p:spPr>
          <a:xfrm>
            <a:off x="4036037" y="1867963"/>
            <a:ext cx="588393" cy="58839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5B7CBF77-D965-95EA-1E56-A5E654E34250}"/>
              </a:ext>
            </a:extLst>
          </p:cNvPr>
          <p:cNvSpPr/>
          <p:nvPr/>
        </p:nvSpPr>
        <p:spPr>
          <a:xfrm>
            <a:off x="7957491" y="1663153"/>
            <a:ext cx="588393" cy="58839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CC793322-4B61-BA07-3850-6DD6026C70FF}"/>
              </a:ext>
            </a:extLst>
          </p:cNvPr>
          <p:cNvCxnSpPr>
            <a:cxnSpLocks/>
            <a:stCxn id="137" idx="4"/>
          </p:cNvCxnSpPr>
          <p:nvPr/>
        </p:nvCxnSpPr>
        <p:spPr>
          <a:xfrm flipH="1">
            <a:off x="4330233" y="2456356"/>
            <a:ext cx="1" cy="4145703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6301CBB6-A24C-2D87-5FCC-B77C02467D86}"/>
              </a:ext>
            </a:extLst>
          </p:cNvPr>
          <p:cNvCxnSpPr>
            <a:cxnSpLocks/>
            <a:stCxn id="140" idx="4"/>
          </p:cNvCxnSpPr>
          <p:nvPr/>
        </p:nvCxnSpPr>
        <p:spPr>
          <a:xfrm flipH="1">
            <a:off x="8251687" y="2251546"/>
            <a:ext cx="1" cy="4407663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2" name="Graphic 151">
            <a:extLst>
              <a:ext uri="{FF2B5EF4-FFF2-40B4-BE49-F238E27FC236}">
                <a16:creationId xmlns:a16="http://schemas.microsoft.com/office/drawing/2014/main" id="{25E7CE34-169C-F69E-F30C-029B1C06C1D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5630" y="2115921"/>
            <a:ext cx="441296" cy="449038"/>
          </a:xfrm>
          <a:prstGeom prst="rect">
            <a:avLst/>
          </a:prstGeom>
        </p:spPr>
      </p:pic>
      <p:pic>
        <p:nvPicPr>
          <p:cNvPr id="154" name="Picture 153">
            <a:extLst>
              <a:ext uri="{FF2B5EF4-FFF2-40B4-BE49-F238E27FC236}">
                <a16:creationId xmlns:a16="http://schemas.microsoft.com/office/drawing/2014/main" id="{C61B47DF-DF7A-B98B-89F5-24B2770E1A4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4447" y="1927275"/>
            <a:ext cx="463340" cy="463340"/>
          </a:xfrm>
          <a:prstGeom prst="rect">
            <a:avLst/>
          </a:prstGeom>
        </p:spPr>
      </p:pic>
      <p:pic>
        <p:nvPicPr>
          <p:cNvPr id="156" name="Graphic 155">
            <a:extLst>
              <a:ext uri="{FF2B5EF4-FFF2-40B4-BE49-F238E27FC236}">
                <a16:creationId xmlns:a16="http://schemas.microsoft.com/office/drawing/2014/main" id="{BA1BF6BA-29C4-D2D5-6A96-81A32A8CD79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40655" y="1787166"/>
            <a:ext cx="422063" cy="422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5718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2EBCDA-2E65-8C3C-E463-DBB8AA7F61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Rectangle: Rounded Corners 213">
            <a:extLst>
              <a:ext uri="{FF2B5EF4-FFF2-40B4-BE49-F238E27FC236}">
                <a16:creationId xmlns:a16="http://schemas.microsoft.com/office/drawing/2014/main" id="{4C34E87C-E343-FD7A-3AFB-839BEC4B9CC4}"/>
              </a:ext>
            </a:extLst>
          </p:cNvPr>
          <p:cNvSpPr/>
          <p:nvPr/>
        </p:nvSpPr>
        <p:spPr>
          <a:xfrm>
            <a:off x="2004715" y="1402103"/>
            <a:ext cx="9746412" cy="4103802"/>
          </a:xfrm>
          <a:prstGeom prst="roundRect">
            <a:avLst>
              <a:gd name="adj" fmla="val 389"/>
            </a:avLst>
          </a:prstGeom>
          <a:solidFill>
            <a:srgbClr val="FBFBFB"/>
          </a:solidFill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E762657-6E26-0F22-2346-D662B215C69C}"/>
              </a:ext>
            </a:extLst>
          </p:cNvPr>
          <p:cNvGrpSpPr/>
          <p:nvPr/>
        </p:nvGrpSpPr>
        <p:grpSpPr>
          <a:xfrm>
            <a:off x="10191754" y="6457114"/>
            <a:ext cx="1751177" cy="139126"/>
            <a:chOff x="9886849" y="6498754"/>
            <a:chExt cx="1751177" cy="139126"/>
          </a:xfrm>
        </p:grpSpPr>
        <p:sp>
          <p:nvSpPr>
            <p:cNvPr id="5" name="SlideLogoText">
              <a:extLst>
                <a:ext uri="{FF2B5EF4-FFF2-40B4-BE49-F238E27FC236}">
                  <a16:creationId xmlns:a16="http://schemas.microsoft.com/office/drawing/2014/main" id="{7E2A5C57-7D81-CB04-A3A6-2DCA55A59ABD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9886849" y="6499381"/>
              <a:ext cx="164628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 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6" name="Slide Number">
              <a:extLst>
                <a:ext uri="{FF2B5EF4-FFF2-40B4-BE49-F238E27FC236}">
                  <a16:creationId xmlns:a16="http://schemas.microsoft.com/office/drawing/2014/main" id="{2348DE06-2D7A-7D6F-73D7-47B292E1370E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6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1F16882D-FD2B-A70C-43C2-79B1303E8074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3F9C41-C6DD-51D9-CBEB-B3584E7E8B5C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231476BE-3274-657E-308B-5145BE9E62CA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ED636728-15FB-2DF7-DA20-005B6B8863CC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evelopment Cycle and Process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DBEA0B74-FFAB-78B0-3E71-2868FA488596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81265977-2F31-9DA6-D2B7-85040CB02DA3}"/>
              </a:ext>
            </a:extLst>
          </p:cNvPr>
          <p:cNvSpPr txBox="1"/>
          <p:nvPr/>
        </p:nvSpPr>
        <p:spPr>
          <a:xfrm>
            <a:off x="206943" y="478058"/>
            <a:ext cx="119850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1</a:t>
            </a:r>
            <a:r>
              <a:rPr kumimoji="0" lang="en-US" sz="2400" b="1" i="0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st</a:t>
            </a: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 project deliverable: Design Pipeline Architecture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5625BD3-EBDD-703B-7031-00FD57B8FF9E}"/>
              </a:ext>
            </a:extLst>
          </p:cNvPr>
          <p:cNvCxnSpPr>
            <a:cxnSpLocks/>
          </p:cNvCxnSpPr>
          <p:nvPr/>
        </p:nvCxnSpPr>
        <p:spPr>
          <a:xfrm>
            <a:off x="300998" y="939723"/>
            <a:ext cx="11450129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B9E27671-C5A7-DB1C-B0D5-A07895CE85CE}"/>
              </a:ext>
            </a:extLst>
          </p:cNvPr>
          <p:cNvGrpSpPr/>
          <p:nvPr/>
        </p:nvGrpSpPr>
        <p:grpSpPr>
          <a:xfrm>
            <a:off x="133627" y="1511358"/>
            <a:ext cx="1404486" cy="3795145"/>
            <a:chOff x="359055" y="1314974"/>
            <a:chExt cx="1404486" cy="3795145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754D4421-FAA0-9F1E-1702-53338685E814}"/>
                </a:ext>
              </a:extLst>
            </p:cNvPr>
            <p:cNvSpPr txBox="1"/>
            <p:nvPr/>
          </p:nvSpPr>
          <p:spPr>
            <a:xfrm>
              <a:off x="359055" y="1314974"/>
              <a:ext cx="1404486" cy="4462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Source Data</a:t>
              </a:r>
            </a:p>
            <a:p>
              <a:pPr algn="ctr"/>
              <a:r>
                <a:rPr lang="en-US" sz="1100" dirty="0">
                  <a:latin typeface="Arial" panose="020B0604020202020204" pitchFamily="34" charset="0"/>
                  <a:cs typeface="Arial" panose="020B0604020202020204" pitchFamily="34" charset="0"/>
                </a:rPr>
                <a:t>Relational DB</a:t>
              </a:r>
              <a:endParaRPr lang="en-ID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2A016055-3A86-E187-71D6-2C346132E186}"/>
                </a:ext>
              </a:extLst>
            </p:cNvPr>
            <p:cNvGrpSpPr/>
            <p:nvPr/>
          </p:nvGrpSpPr>
          <p:grpSpPr>
            <a:xfrm>
              <a:off x="519392" y="1838194"/>
              <a:ext cx="1083811" cy="3271925"/>
              <a:chOff x="405543" y="1693775"/>
              <a:chExt cx="1083811" cy="3271925"/>
            </a:xfrm>
          </p:grpSpPr>
          <p:sp>
            <p:nvSpPr>
              <p:cNvPr id="19" name="Rectangle: Rounded Corners 18">
                <a:extLst>
                  <a:ext uri="{FF2B5EF4-FFF2-40B4-BE49-F238E27FC236}">
                    <a16:creationId xmlns:a16="http://schemas.microsoft.com/office/drawing/2014/main" id="{9E02E5A2-B252-F2A5-11C2-71767C490832}"/>
                  </a:ext>
                </a:extLst>
              </p:cNvPr>
              <p:cNvSpPr/>
              <p:nvPr/>
            </p:nvSpPr>
            <p:spPr>
              <a:xfrm>
                <a:off x="405543" y="1693775"/>
                <a:ext cx="1083811" cy="3271925"/>
              </a:xfrm>
              <a:prstGeom prst="roundRect">
                <a:avLst>
                  <a:gd name="adj" fmla="val 7509"/>
                </a:avLst>
              </a:prstGeom>
              <a:gradFill flip="none" rotWithShape="1">
                <a:gsLst>
                  <a:gs pos="0">
                    <a:srgbClr val="051C39"/>
                  </a:gs>
                  <a:gs pos="100000">
                    <a:srgbClr val="2552E3"/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noFill/>
                <a:prstDash val="solid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sp>
            <p:nvSpPr>
              <p:cNvPr id="37" name="Rectangle: Rounded Corners 36">
                <a:extLst>
                  <a:ext uri="{FF2B5EF4-FFF2-40B4-BE49-F238E27FC236}">
                    <a16:creationId xmlns:a16="http://schemas.microsoft.com/office/drawing/2014/main" id="{61A1D845-7F4C-7F5C-0946-9C32EAF29452}"/>
                  </a:ext>
                </a:extLst>
              </p:cNvPr>
              <p:cNvSpPr/>
              <p:nvPr/>
            </p:nvSpPr>
            <p:spPr>
              <a:xfrm>
                <a:off x="443448" y="1726155"/>
                <a:ext cx="1008000" cy="3205414"/>
              </a:xfrm>
              <a:prstGeom prst="roundRect">
                <a:avLst>
                  <a:gd name="adj" fmla="val 7509"/>
                </a:avLst>
              </a:prstGeom>
              <a:solidFill>
                <a:schemeClr val="bg1"/>
              </a:solidFill>
              <a:ln>
                <a:noFill/>
                <a:prstDash val="solid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D1837654-FCA5-3027-EF69-3F99F08CA206}"/>
                  </a:ext>
                </a:extLst>
              </p:cNvPr>
              <p:cNvGrpSpPr/>
              <p:nvPr/>
            </p:nvGrpSpPr>
            <p:grpSpPr>
              <a:xfrm>
                <a:off x="505604" y="1842901"/>
                <a:ext cx="924328" cy="656003"/>
                <a:chOff x="508144" y="1842901"/>
                <a:chExt cx="924328" cy="656003"/>
              </a:xfrm>
            </p:grpSpPr>
            <p:pic>
              <p:nvPicPr>
                <p:cNvPr id="55" name="Picture 54">
                  <a:extLst>
                    <a:ext uri="{FF2B5EF4-FFF2-40B4-BE49-F238E27FC236}">
                      <a16:creationId xmlns:a16="http://schemas.microsoft.com/office/drawing/2014/main" id="{A105A082-E048-E43C-2300-835449E6E36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1142" y="1842901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56" name="TextBox 55">
                  <a:extLst>
                    <a:ext uri="{FF2B5EF4-FFF2-40B4-BE49-F238E27FC236}">
                      <a16:creationId xmlns:a16="http://schemas.microsoft.com/office/drawing/2014/main" id="{A5F48FE8-40AC-1757-4FA7-2745B5FBA58F}"/>
                    </a:ext>
                  </a:extLst>
                </p:cNvPr>
                <p:cNvSpPr txBox="1"/>
                <p:nvPr/>
              </p:nvSpPr>
              <p:spPr>
                <a:xfrm>
                  <a:off x="508144" y="2221905"/>
                  <a:ext cx="924328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customer</a:t>
                  </a:r>
                  <a:endParaRPr lang="en-ID" sz="12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C40A1E3C-68A0-C37A-D73B-DDDE2529875E}"/>
                  </a:ext>
                </a:extLst>
              </p:cNvPr>
              <p:cNvGrpSpPr/>
              <p:nvPr/>
            </p:nvGrpSpPr>
            <p:grpSpPr>
              <a:xfrm>
                <a:off x="505604" y="2612100"/>
                <a:ext cx="924328" cy="650501"/>
                <a:chOff x="505604" y="2558913"/>
                <a:chExt cx="924328" cy="650501"/>
              </a:xfrm>
            </p:grpSpPr>
            <p:pic>
              <p:nvPicPr>
                <p:cNvPr id="57" name="Picture 56">
                  <a:extLst>
                    <a:ext uri="{FF2B5EF4-FFF2-40B4-BE49-F238E27FC236}">
                      <a16:creationId xmlns:a16="http://schemas.microsoft.com/office/drawing/2014/main" id="{A0595DB3-9FAD-F7AB-DF66-BDADE0B9489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1142" y="2558913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3593AA87-4E1B-0735-8499-DEFA5C22F8F4}"/>
                    </a:ext>
                  </a:extLst>
                </p:cNvPr>
                <p:cNvSpPr txBox="1"/>
                <p:nvPr/>
              </p:nvSpPr>
              <p:spPr>
                <a:xfrm>
                  <a:off x="505604" y="2932415"/>
                  <a:ext cx="924328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driver</a:t>
                  </a:r>
                  <a:endParaRPr lang="en-ID" sz="12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DADE5E60-5ABF-0496-B8E7-062F5ADFC0A9}"/>
                  </a:ext>
                </a:extLst>
              </p:cNvPr>
              <p:cNvGrpSpPr/>
              <p:nvPr/>
            </p:nvGrpSpPr>
            <p:grpSpPr>
              <a:xfrm>
                <a:off x="505604" y="3375797"/>
                <a:ext cx="924328" cy="659717"/>
                <a:chOff x="505604" y="3244956"/>
                <a:chExt cx="924328" cy="659717"/>
              </a:xfrm>
            </p:grpSpPr>
            <p:pic>
              <p:nvPicPr>
                <p:cNvPr id="59" name="Picture 58">
                  <a:extLst>
                    <a:ext uri="{FF2B5EF4-FFF2-40B4-BE49-F238E27FC236}">
                      <a16:creationId xmlns:a16="http://schemas.microsoft.com/office/drawing/2014/main" id="{64A3DEFE-0F85-5391-E323-1F82B11009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5683" y="3244956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64" name="TextBox 63">
                  <a:extLst>
                    <a:ext uri="{FF2B5EF4-FFF2-40B4-BE49-F238E27FC236}">
                      <a16:creationId xmlns:a16="http://schemas.microsoft.com/office/drawing/2014/main" id="{11493085-ACF0-8483-2685-9EE9FC5D4DF3}"/>
                    </a:ext>
                  </a:extLst>
                </p:cNvPr>
                <p:cNvSpPr txBox="1"/>
                <p:nvPr/>
              </p:nvSpPr>
              <p:spPr>
                <a:xfrm>
                  <a:off x="505604" y="3627674"/>
                  <a:ext cx="924328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vehicle</a:t>
                  </a:r>
                  <a:endParaRPr lang="en-ID" sz="12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A9D36DD9-A79B-E139-2886-71C8A06D34C7}"/>
                  </a:ext>
                </a:extLst>
              </p:cNvPr>
              <p:cNvGrpSpPr/>
              <p:nvPr/>
            </p:nvGrpSpPr>
            <p:grpSpPr>
              <a:xfrm>
                <a:off x="505604" y="4148711"/>
                <a:ext cx="924328" cy="674340"/>
                <a:chOff x="505604" y="4148711"/>
                <a:chExt cx="924328" cy="674340"/>
              </a:xfrm>
            </p:grpSpPr>
            <p:pic>
              <p:nvPicPr>
                <p:cNvPr id="61" name="Picture 60">
                  <a:extLst>
                    <a:ext uri="{FF2B5EF4-FFF2-40B4-BE49-F238E27FC236}">
                      <a16:creationId xmlns:a16="http://schemas.microsoft.com/office/drawing/2014/main" id="{89EB010B-415B-7908-9AC3-50127BF733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5683" y="4148711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66" name="TextBox 65">
                  <a:extLst>
                    <a:ext uri="{FF2B5EF4-FFF2-40B4-BE49-F238E27FC236}">
                      <a16:creationId xmlns:a16="http://schemas.microsoft.com/office/drawing/2014/main" id="{8531570D-04CA-7A4B-BD80-C541CA23795B}"/>
                    </a:ext>
                  </a:extLst>
                </p:cNvPr>
                <p:cNvSpPr txBox="1"/>
                <p:nvPr/>
              </p:nvSpPr>
              <p:spPr>
                <a:xfrm>
                  <a:off x="505604" y="4546052"/>
                  <a:ext cx="924328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ride</a:t>
                  </a:r>
                  <a:endParaRPr lang="en-ID" sz="12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</p:grpSp>
      <p:grpSp>
        <p:nvGrpSpPr>
          <p:cNvPr id="241" name="Group 240">
            <a:extLst>
              <a:ext uri="{FF2B5EF4-FFF2-40B4-BE49-F238E27FC236}">
                <a16:creationId xmlns:a16="http://schemas.microsoft.com/office/drawing/2014/main" id="{EE5BE66B-5260-7686-6581-2EBF4970487A}"/>
              </a:ext>
            </a:extLst>
          </p:cNvPr>
          <p:cNvGrpSpPr/>
          <p:nvPr/>
        </p:nvGrpSpPr>
        <p:grpSpPr>
          <a:xfrm>
            <a:off x="1839320" y="1511358"/>
            <a:ext cx="2571623" cy="3795145"/>
            <a:chOff x="2001248" y="1479002"/>
            <a:chExt cx="2571623" cy="3795145"/>
          </a:xfrm>
        </p:grpSpPr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7F852420-FD65-7BE6-CE04-C3D9801A60BE}"/>
                </a:ext>
              </a:extLst>
            </p:cNvPr>
            <p:cNvGrpSpPr/>
            <p:nvPr/>
          </p:nvGrpSpPr>
          <p:grpSpPr>
            <a:xfrm>
              <a:off x="2745155" y="2002222"/>
              <a:ext cx="1083811" cy="3271925"/>
              <a:chOff x="405543" y="1693775"/>
              <a:chExt cx="1083811" cy="3271925"/>
            </a:xfrm>
          </p:grpSpPr>
          <p:sp>
            <p:nvSpPr>
              <p:cNvPr id="150" name="Rectangle: Rounded Corners 149">
                <a:extLst>
                  <a:ext uri="{FF2B5EF4-FFF2-40B4-BE49-F238E27FC236}">
                    <a16:creationId xmlns:a16="http://schemas.microsoft.com/office/drawing/2014/main" id="{056EC8BC-E6C4-26E8-9E51-72D99AC718A1}"/>
                  </a:ext>
                </a:extLst>
              </p:cNvPr>
              <p:cNvSpPr/>
              <p:nvPr/>
            </p:nvSpPr>
            <p:spPr>
              <a:xfrm>
                <a:off x="405543" y="1693775"/>
                <a:ext cx="1083811" cy="3271925"/>
              </a:xfrm>
              <a:prstGeom prst="roundRect">
                <a:avLst>
                  <a:gd name="adj" fmla="val 7509"/>
                </a:avLst>
              </a:prstGeom>
              <a:gradFill flip="none" rotWithShape="1">
                <a:gsLst>
                  <a:gs pos="0">
                    <a:srgbClr val="051C39"/>
                  </a:gs>
                  <a:gs pos="100000">
                    <a:srgbClr val="2552E3"/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noFill/>
                <a:prstDash val="solid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sp>
            <p:nvSpPr>
              <p:cNvPr id="151" name="Rectangle: Rounded Corners 150">
                <a:extLst>
                  <a:ext uri="{FF2B5EF4-FFF2-40B4-BE49-F238E27FC236}">
                    <a16:creationId xmlns:a16="http://schemas.microsoft.com/office/drawing/2014/main" id="{0A1D4D3F-3AB8-8068-FD6C-42689D4A23B3}"/>
                  </a:ext>
                </a:extLst>
              </p:cNvPr>
              <p:cNvSpPr/>
              <p:nvPr/>
            </p:nvSpPr>
            <p:spPr>
              <a:xfrm>
                <a:off x="443448" y="1726155"/>
                <a:ext cx="1008000" cy="3205414"/>
              </a:xfrm>
              <a:prstGeom prst="roundRect">
                <a:avLst>
                  <a:gd name="adj" fmla="val 7509"/>
                </a:avLst>
              </a:prstGeom>
              <a:solidFill>
                <a:schemeClr val="bg1"/>
              </a:solidFill>
              <a:ln>
                <a:noFill/>
                <a:prstDash val="solid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grpSp>
            <p:nvGrpSpPr>
              <p:cNvPr id="152" name="Group 151">
                <a:extLst>
                  <a:ext uri="{FF2B5EF4-FFF2-40B4-BE49-F238E27FC236}">
                    <a16:creationId xmlns:a16="http://schemas.microsoft.com/office/drawing/2014/main" id="{6025BD96-8899-84A8-7879-51F42259D5E9}"/>
                  </a:ext>
                </a:extLst>
              </p:cNvPr>
              <p:cNvGrpSpPr/>
              <p:nvPr/>
            </p:nvGrpSpPr>
            <p:grpSpPr>
              <a:xfrm>
                <a:off x="415859" y="1842901"/>
                <a:ext cx="1062295" cy="640614"/>
                <a:chOff x="418399" y="1842901"/>
                <a:chExt cx="1062295" cy="640614"/>
              </a:xfrm>
            </p:grpSpPr>
            <p:pic>
              <p:nvPicPr>
                <p:cNvPr id="162" name="Picture 161">
                  <a:extLst>
                    <a:ext uri="{FF2B5EF4-FFF2-40B4-BE49-F238E27FC236}">
                      <a16:creationId xmlns:a16="http://schemas.microsoft.com/office/drawing/2014/main" id="{E5F2FBB5-3532-BFC7-13B1-38358CCC0C3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1142" y="1842901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163" name="TextBox 162">
                  <a:extLst>
                    <a:ext uri="{FF2B5EF4-FFF2-40B4-BE49-F238E27FC236}">
                      <a16:creationId xmlns:a16="http://schemas.microsoft.com/office/drawing/2014/main" id="{3F88ABAC-65D5-FFB0-C933-D047097BBCD1}"/>
                    </a:ext>
                  </a:extLst>
                </p:cNvPr>
                <p:cNvSpPr txBox="1"/>
                <p:nvPr/>
              </p:nvSpPr>
              <p:spPr>
                <a:xfrm>
                  <a:off x="418399" y="2221905"/>
                  <a:ext cx="1062295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 err="1">
                      <a:latin typeface="Arial" panose="020B0604020202020204" pitchFamily="34" charset="0"/>
                      <a:cs typeface="Arial" panose="020B0604020202020204" pitchFamily="34" charset="0"/>
                    </a:rPr>
                    <a:t>Customer_src</a:t>
                  </a:r>
                  <a:endParaRPr lang="en-ID" sz="11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53" name="Group 152">
                <a:extLst>
                  <a:ext uri="{FF2B5EF4-FFF2-40B4-BE49-F238E27FC236}">
                    <a16:creationId xmlns:a16="http://schemas.microsoft.com/office/drawing/2014/main" id="{35FE66CC-4A38-0734-D40F-12251747061C}"/>
                  </a:ext>
                </a:extLst>
              </p:cNvPr>
              <p:cNvGrpSpPr/>
              <p:nvPr/>
            </p:nvGrpSpPr>
            <p:grpSpPr>
              <a:xfrm>
                <a:off x="505604" y="2612100"/>
                <a:ext cx="924328" cy="635112"/>
                <a:chOff x="505604" y="2558913"/>
                <a:chExt cx="924328" cy="635112"/>
              </a:xfrm>
            </p:grpSpPr>
            <p:pic>
              <p:nvPicPr>
                <p:cNvPr id="160" name="Picture 159">
                  <a:extLst>
                    <a:ext uri="{FF2B5EF4-FFF2-40B4-BE49-F238E27FC236}">
                      <a16:creationId xmlns:a16="http://schemas.microsoft.com/office/drawing/2014/main" id="{C905B20F-9AC0-B5C5-ABA1-A6A000F333F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1142" y="2558913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161" name="TextBox 160">
                  <a:extLst>
                    <a:ext uri="{FF2B5EF4-FFF2-40B4-BE49-F238E27FC236}">
                      <a16:creationId xmlns:a16="http://schemas.microsoft.com/office/drawing/2014/main" id="{0B593312-06B1-7F07-72C7-9F662D1EA8E4}"/>
                    </a:ext>
                  </a:extLst>
                </p:cNvPr>
                <p:cNvSpPr txBox="1"/>
                <p:nvPr/>
              </p:nvSpPr>
              <p:spPr>
                <a:xfrm>
                  <a:off x="505604" y="2932415"/>
                  <a:ext cx="924328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 err="1">
                      <a:latin typeface="Arial" panose="020B0604020202020204" pitchFamily="34" charset="0"/>
                      <a:cs typeface="Arial" panose="020B0604020202020204" pitchFamily="34" charset="0"/>
                    </a:rPr>
                    <a:t>driver_src</a:t>
                  </a:r>
                  <a:endParaRPr lang="en-ID" sz="11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54" name="Group 153">
                <a:extLst>
                  <a:ext uri="{FF2B5EF4-FFF2-40B4-BE49-F238E27FC236}">
                    <a16:creationId xmlns:a16="http://schemas.microsoft.com/office/drawing/2014/main" id="{A86486F0-8CBE-6F32-3748-498A8B6093C2}"/>
                  </a:ext>
                </a:extLst>
              </p:cNvPr>
              <p:cNvGrpSpPr/>
              <p:nvPr/>
            </p:nvGrpSpPr>
            <p:grpSpPr>
              <a:xfrm>
                <a:off x="443448" y="3375797"/>
                <a:ext cx="986484" cy="644328"/>
                <a:chOff x="443448" y="3244956"/>
                <a:chExt cx="986484" cy="644328"/>
              </a:xfrm>
            </p:grpSpPr>
            <p:pic>
              <p:nvPicPr>
                <p:cNvPr id="158" name="Picture 157">
                  <a:extLst>
                    <a:ext uri="{FF2B5EF4-FFF2-40B4-BE49-F238E27FC236}">
                      <a16:creationId xmlns:a16="http://schemas.microsoft.com/office/drawing/2014/main" id="{E437569E-95BD-B9BD-189B-72068B6D01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5683" y="3244956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159" name="TextBox 158">
                  <a:extLst>
                    <a:ext uri="{FF2B5EF4-FFF2-40B4-BE49-F238E27FC236}">
                      <a16:creationId xmlns:a16="http://schemas.microsoft.com/office/drawing/2014/main" id="{021CA9F5-CF72-2F8F-F27C-9F91E2C11B8B}"/>
                    </a:ext>
                  </a:extLst>
                </p:cNvPr>
                <p:cNvSpPr txBox="1"/>
                <p:nvPr/>
              </p:nvSpPr>
              <p:spPr>
                <a:xfrm>
                  <a:off x="443448" y="3627674"/>
                  <a:ext cx="986484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 err="1">
                      <a:latin typeface="Arial" panose="020B0604020202020204" pitchFamily="34" charset="0"/>
                      <a:cs typeface="Arial" panose="020B0604020202020204" pitchFamily="34" charset="0"/>
                    </a:rPr>
                    <a:t>Vehicle_src</a:t>
                  </a:r>
                  <a:endParaRPr lang="en-ID" sz="11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55" name="Group 154">
                <a:extLst>
                  <a:ext uri="{FF2B5EF4-FFF2-40B4-BE49-F238E27FC236}">
                    <a16:creationId xmlns:a16="http://schemas.microsoft.com/office/drawing/2014/main" id="{A57317B1-335B-BA12-40D0-C9CB2BD836D7}"/>
                  </a:ext>
                </a:extLst>
              </p:cNvPr>
              <p:cNvGrpSpPr/>
              <p:nvPr/>
            </p:nvGrpSpPr>
            <p:grpSpPr>
              <a:xfrm>
                <a:off x="505604" y="4148711"/>
                <a:ext cx="924328" cy="658951"/>
                <a:chOff x="505604" y="4148711"/>
                <a:chExt cx="924328" cy="658951"/>
              </a:xfrm>
            </p:grpSpPr>
            <p:pic>
              <p:nvPicPr>
                <p:cNvPr id="156" name="Picture 155">
                  <a:extLst>
                    <a:ext uri="{FF2B5EF4-FFF2-40B4-BE49-F238E27FC236}">
                      <a16:creationId xmlns:a16="http://schemas.microsoft.com/office/drawing/2014/main" id="{4B2B8557-FF3E-E88C-0A75-1F465754E33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5683" y="4148711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157" name="TextBox 156">
                  <a:extLst>
                    <a:ext uri="{FF2B5EF4-FFF2-40B4-BE49-F238E27FC236}">
                      <a16:creationId xmlns:a16="http://schemas.microsoft.com/office/drawing/2014/main" id="{60185F84-0A8B-99D7-1DDD-16A4F8BDF72A}"/>
                    </a:ext>
                  </a:extLst>
                </p:cNvPr>
                <p:cNvSpPr txBox="1"/>
                <p:nvPr/>
              </p:nvSpPr>
              <p:spPr>
                <a:xfrm>
                  <a:off x="505604" y="4546052"/>
                  <a:ext cx="924328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 err="1">
                      <a:latin typeface="Arial" panose="020B0604020202020204" pitchFamily="34" charset="0"/>
                      <a:cs typeface="Arial" panose="020B0604020202020204" pitchFamily="34" charset="0"/>
                    </a:rPr>
                    <a:t>Ride_src</a:t>
                  </a:r>
                  <a:endParaRPr lang="en-ID" sz="11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14C2A7AF-2EB8-DA25-7613-020858DE08CF}"/>
                </a:ext>
              </a:extLst>
            </p:cNvPr>
            <p:cNvSpPr txBox="1"/>
            <p:nvPr/>
          </p:nvSpPr>
          <p:spPr>
            <a:xfrm>
              <a:off x="2001248" y="1479002"/>
              <a:ext cx="257162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Source Layer</a:t>
              </a:r>
            </a:p>
            <a:p>
              <a:pPr algn="ctr"/>
              <a:r>
                <a:rPr lang="en-US" sz="1100" dirty="0">
                  <a:latin typeface="Arial" panose="020B0604020202020204" pitchFamily="34" charset="0"/>
                  <a:cs typeface="Arial" panose="020B0604020202020204" pitchFamily="34" charset="0"/>
                </a:rPr>
                <a:t>Dataset: </a:t>
              </a:r>
              <a:r>
                <a:rPr lang="en-US" sz="1100" dirty="0" err="1">
                  <a:latin typeface="Arial" panose="020B0604020202020204" pitchFamily="34" charset="0"/>
                  <a:cs typeface="Arial" panose="020B0604020202020204" pitchFamily="34" charset="0"/>
                </a:rPr>
                <a:t>dwh_hailing_source</a:t>
              </a:r>
              <a:endParaRPr lang="en-ID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39C47D47-15B5-DC1C-DE47-B98DF4C47EDD}"/>
              </a:ext>
            </a:extLst>
          </p:cNvPr>
          <p:cNvGrpSpPr/>
          <p:nvPr/>
        </p:nvGrpSpPr>
        <p:grpSpPr>
          <a:xfrm>
            <a:off x="6888142" y="1511358"/>
            <a:ext cx="2571623" cy="3795145"/>
            <a:chOff x="7304921" y="1479002"/>
            <a:chExt cx="2571623" cy="3795145"/>
          </a:xfrm>
        </p:grpSpPr>
        <p:sp>
          <p:nvSpPr>
            <p:cNvPr id="182" name="Rectangle: Rounded Corners 181">
              <a:extLst>
                <a:ext uri="{FF2B5EF4-FFF2-40B4-BE49-F238E27FC236}">
                  <a16:creationId xmlns:a16="http://schemas.microsoft.com/office/drawing/2014/main" id="{6E9F5C1A-6EE9-DD8E-03CA-EFEEA4166B79}"/>
                </a:ext>
              </a:extLst>
            </p:cNvPr>
            <p:cNvSpPr/>
            <p:nvPr/>
          </p:nvSpPr>
          <p:spPr>
            <a:xfrm>
              <a:off x="8048828" y="2002222"/>
              <a:ext cx="1083811" cy="3271925"/>
            </a:xfrm>
            <a:prstGeom prst="roundRect">
              <a:avLst>
                <a:gd name="adj" fmla="val 7509"/>
              </a:avLst>
            </a:prstGeom>
            <a:gradFill flip="none" rotWithShape="1">
              <a:gsLst>
                <a:gs pos="0">
                  <a:srgbClr val="051C39"/>
                </a:gs>
                <a:gs pos="100000">
                  <a:srgbClr val="2552E3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dirty="0"/>
            </a:p>
          </p:txBody>
        </p:sp>
        <p:sp>
          <p:nvSpPr>
            <p:cNvPr id="183" name="Rectangle: Rounded Corners 182">
              <a:extLst>
                <a:ext uri="{FF2B5EF4-FFF2-40B4-BE49-F238E27FC236}">
                  <a16:creationId xmlns:a16="http://schemas.microsoft.com/office/drawing/2014/main" id="{60825D14-0391-E51F-FD88-2E4CCE570F25}"/>
                </a:ext>
              </a:extLst>
            </p:cNvPr>
            <p:cNvSpPr/>
            <p:nvPr/>
          </p:nvSpPr>
          <p:spPr>
            <a:xfrm>
              <a:off x="8086733" y="2034602"/>
              <a:ext cx="1008000" cy="3205414"/>
            </a:xfrm>
            <a:prstGeom prst="roundRect">
              <a:avLst>
                <a:gd name="adj" fmla="val 7509"/>
              </a:avLst>
            </a:prstGeom>
            <a:solidFill>
              <a:schemeClr val="bg1"/>
            </a:solidFill>
            <a:ln>
              <a:noFill/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dirty="0"/>
            </a:p>
          </p:txBody>
        </p:sp>
        <p:grpSp>
          <p:nvGrpSpPr>
            <p:cNvPr id="185" name="Group 184">
              <a:extLst>
                <a:ext uri="{FF2B5EF4-FFF2-40B4-BE49-F238E27FC236}">
                  <a16:creationId xmlns:a16="http://schemas.microsoft.com/office/drawing/2014/main" id="{54670AE3-07B2-5790-48FC-A3D401248F6F}"/>
                </a:ext>
              </a:extLst>
            </p:cNvPr>
            <p:cNvGrpSpPr/>
            <p:nvPr/>
          </p:nvGrpSpPr>
          <p:grpSpPr>
            <a:xfrm>
              <a:off x="8148889" y="2248681"/>
              <a:ext cx="924328" cy="830797"/>
              <a:chOff x="505604" y="2121114"/>
              <a:chExt cx="924328" cy="830797"/>
            </a:xfrm>
          </p:grpSpPr>
          <p:pic>
            <p:nvPicPr>
              <p:cNvPr id="192" name="Picture 191">
                <a:extLst>
                  <a:ext uri="{FF2B5EF4-FFF2-40B4-BE49-F238E27FC236}">
                    <a16:creationId xmlns:a16="http://schemas.microsoft.com/office/drawing/2014/main" id="{523F11CE-ACF8-8166-84AB-C60EE7EC6D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1142" y="2121114"/>
                <a:ext cx="444170" cy="444170"/>
              </a:xfrm>
              <a:prstGeom prst="rect">
                <a:avLst/>
              </a:prstGeom>
            </p:spPr>
          </p:pic>
          <p:sp>
            <p:nvSpPr>
              <p:cNvPr id="193" name="TextBox 192">
                <a:extLst>
                  <a:ext uri="{FF2B5EF4-FFF2-40B4-BE49-F238E27FC236}">
                    <a16:creationId xmlns:a16="http://schemas.microsoft.com/office/drawing/2014/main" id="{853E9799-DCD1-12F6-7B26-DC380F764062}"/>
                  </a:ext>
                </a:extLst>
              </p:cNvPr>
              <p:cNvSpPr txBox="1"/>
              <p:nvPr/>
            </p:nvSpPr>
            <p:spPr>
              <a:xfrm>
                <a:off x="505604" y="2521024"/>
                <a:ext cx="924328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im_customer</a:t>
                </a:r>
                <a:endParaRPr lang="en-ID" sz="11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E72F08E0-380C-7EB8-7E5E-76D6341ADA1B}"/>
                </a:ext>
              </a:extLst>
            </p:cNvPr>
            <p:cNvGrpSpPr/>
            <p:nvPr/>
          </p:nvGrpSpPr>
          <p:grpSpPr>
            <a:xfrm>
              <a:off x="8086733" y="3323496"/>
              <a:ext cx="986484" cy="644328"/>
              <a:chOff x="443448" y="3020058"/>
              <a:chExt cx="986484" cy="644328"/>
            </a:xfrm>
          </p:grpSpPr>
          <p:pic>
            <p:nvPicPr>
              <p:cNvPr id="190" name="Picture 189">
                <a:extLst>
                  <a:ext uri="{FF2B5EF4-FFF2-40B4-BE49-F238E27FC236}">
                    <a16:creationId xmlns:a16="http://schemas.microsoft.com/office/drawing/2014/main" id="{AF9B596D-FE63-351A-8523-FCF69E834E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5683" y="3020058"/>
                <a:ext cx="444170" cy="444170"/>
              </a:xfrm>
              <a:prstGeom prst="rect">
                <a:avLst/>
              </a:prstGeom>
            </p:spPr>
          </p:pic>
          <p:sp>
            <p:nvSpPr>
              <p:cNvPr id="191" name="TextBox 190">
                <a:extLst>
                  <a:ext uri="{FF2B5EF4-FFF2-40B4-BE49-F238E27FC236}">
                    <a16:creationId xmlns:a16="http://schemas.microsoft.com/office/drawing/2014/main" id="{CAC6F4A8-76DF-665B-1CB5-5F17B3FA8CD6}"/>
                  </a:ext>
                </a:extLst>
              </p:cNvPr>
              <p:cNvSpPr txBox="1"/>
              <p:nvPr/>
            </p:nvSpPr>
            <p:spPr>
              <a:xfrm>
                <a:off x="443448" y="3402776"/>
                <a:ext cx="98648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im_driver</a:t>
                </a:r>
                <a:endParaRPr lang="en-ID" sz="11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87" name="Group 186">
              <a:extLst>
                <a:ext uri="{FF2B5EF4-FFF2-40B4-BE49-F238E27FC236}">
                  <a16:creationId xmlns:a16="http://schemas.microsoft.com/office/drawing/2014/main" id="{4F00C6E5-FB6E-49E3-9D8D-46851AC35C3D}"/>
                </a:ext>
              </a:extLst>
            </p:cNvPr>
            <p:cNvGrpSpPr/>
            <p:nvPr/>
          </p:nvGrpSpPr>
          <p:grpSpPr>
            <a:xfrm>
              <a:off x="8148889" y="4315282"/>
              <a:ext cx="924328" cy="658951"/>
              <a:chOff x="505604" y="4148711"/>
              <a:chExt cx="924328" cy="658951"/>
            </a:xfrm>
          </p:grpSpPr>
          <p:pic>
            <p:nvPicPr>
              <p:cNvPr id="188" name="Picture 187">
                <a:extLst>
                  <a:ext uri="{FF2B5EF4-FFF2-40B4-BE49-F238E27FC236}">
                    <a16:creationId xmlns:a16="http://schemas.microsoft.com/office/drawing/2014/main" id="{72EB8999-A41A-A0B5-C386-EBF40F2584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5683" y="4148711"/>
                <a:ext cx="444170" cy="444170"/>
              </a:xfrm>
              <a:prstGeom prst="rect">
                <a:avLst/>
              </a:prstGeom>
            </p:spPr>
          </p:pic>
          <p:sp>
            <p:nvSpPr>
              <p:cNvPr id="189" name="TextBox 188">
                <a:extLst>
                  <a:ext uri="{FF2B5EF4-FFF2-40B4-BE49-F238E27FC236}">
                    <a16:creationId xmlns:a16="http://schemas.microsoft.com/office/drawing/2014/main" id="{881CFA9E-4F3C-1348-57ED-B9D4D6D2C170}"/>
                  </a:ext>
                </a:extLst>
              </p:cNvPr>
              <p:cNvSpPr txBox="1"/>
              <p:nvPr/>
            </p:nvSpPr>
            <p:spPr>
              <a:xfrm>
                <a:off x="505604" y="4546052"/>
                <a:ext cx="92432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Fact_rides</a:t>
                </a:r>
                <a:endParaRPr lang="en-ID" sz="11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05774F8-0830-E18D-A4CD-DDAF7671EFD8}"/>
                </a:ext>
              </a:extLst>
            </p:cNvPr>
            <p:cNvSpPr txBox="1"/>
            <p:nvPr/>
          </p:nvSpPr>
          <p:spPr>
            <a:xfrm>
              <a:off x="7304921" y="1479002"/>
              <a:ext cx="257162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Facts and Dim Layer</a:t>
              </a:r>
            </a:p>
            <a:p>
              <a:pPr algn="ctr"/>
              <a:r>
                <a:rPr lang="en-US" sz="1100" dirty="0">
                  <a:latin typeface="Arial" panose="020B0604020202020204" pitchFamily="34" charset="0"/>
                  <a:cs typeface="Arial" panose="020B0604020202020204" pitchFamily="34" charset="0"/>
                </a:rPr>
                <a:t>Dataset: </a:t>
              </a:r>
              <a:r>
                <a:rPr lang="en-US" sz="1100" dirty="0" err="1">
                  <a:latin typeface="Arial" panose="020B0604020202020204" pitchFamily="34" charset="0"/>
                  <a:cs typeface="Arial" panose="020B0604020202020204" pitchFamily="34" charset="0"/>
                </a:rPr>
                <a:t>dwh_hailing_facts</a:t>
              </a:r>
              <a:endParaRPr lang="en-ID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0" name="Group 239">
            <a:extLst>
              <a:ext uri="{FF2B5EF4-FFF2-40B4-BE49-F238E27FC236}">
                <a16:creationId xmlns:a16="http://schemas.microsoft.com/office/drawing/2014/main" id="{C68DDCAB-1186-EC94-8158-E0EB20DE94BC}"/>
              </a:ext>
            </a:extLst>
          </p:cNvPr>
          <p:cNvGrpSpPr/>
          <p:nvPr/>
        </p:nvGrpSpPr>
        <p:grpSpPr>
          <a:xfrm>
            <a:off x="4363731" y="1511358"/>
            <a:ext cx="2571623" cy="3795145"/>
            <a:chOff x="4513620" y="1479002"/>
            <a:chExt cx="2571623" cy="3795145"/>
          </a:xfrm>
        </p:grpSpPr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796694F5-B72B-2D7D-7BEE-B22DCB9E14F1}"/>
                </a:ext>
              </a:extLst>
            </p:cNvPr>
            <p:cNvGrpSpPr/>
            <p:nvPr/>
          </p:nvGrpSpPr>
          <p:grpSpPr>
            <a:xfrm>
              <a:off x="5257527" y="2002222"/>
              <a:ext cx="1083811" cy="3271925"/>
              <a:chOff x="405543" y="1693775"/>
              <a:chExt cx="1083811" cy="3271925"/>
            </a:xfrm>
          </p:grpSpPr>
          <p:sp>
            <p:nvSpPr>
              <p:cNvPr id="166" name="Rectangle: Rounded Corners 165">
                <a:extLst>
                  <a:ext uri="{FF2B5EF4-FFF2-40B4-BE49-F238E27FC236}">
                    <a16:creationId xmlns:a16="http://schemas.microsoft.com/office/drawing/2014/main" id="{9E37DD49-012A-9F12-6764-7B9B82F72C2D}"/>
                  </a:ext>
                </a:extLst>
              </p:cNvPr>
              <p:cNvSpPr/>
              <p:nvPr/>
            </p:nvSpPr>
            <p:spPr>
              <a:xfrm>
                <a:off x="405543" y="1693775"/>
                <a:ext cx="1083811" cy="3271925"/>
              </a:xfrm>
              <a:prstGeom prst="roundRect">
                <a:avLst>
                  <a:gd name="adj" fmla="val 7509"/>
                </a:avLst>
              </a:prstGeom>
              <a:gradFill flip="none" rotWithShape="1">
                <a:gsLst>
                  <a:gs pos="0">
                    <a:srgbClr val="051C39"/>
                  </a:gs>
                  <a:gs pos="100000">
                    <a:srgbClr val="2552E3"/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noFill/>
                <a:prstDash val="solid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sp>
            <p:nvSpPr>
              <p:cNvPr id="167" name="Rectangle: Rounded Corners 166">
                <a:extLst>
                  <a:ext uri="{FF2B5EF4-FFF2-40B4-BE49-F238E27FC236}">
                    <a16:creationId xmlns:a16="http://schemas.microsoft.com/office/drawing/2014/main" id="{0DC2D12F-E175-1947-8AB7-99EB310E47AC}"/>
                  </a:ext>
                </a:extLst>
              </p:cNvPr>
              <p:cNvSpPr/>
              <p:nvPr/>
            </p:nvSpPr>
            <p:spPr>
              <a:xfrm>
                <a:off x="443448" y="1726155"/>
                <a:ext cx="1008000" cy="3205414"/>
              </a:xfrm>
              <a:prstGeom prst="roundRect">
                <a:avLst>
                  <a:gd name="adj" fmla="val 7509"/>
                </a:avLst>
              </a:prstGeom>
              <a:solidFill>
                <a:schemeClr val="bg1"/>
              </a:solidFill>
              <a:ln>
                <a:noFill/>
                <a:prstDash val="solid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grpSp>
            <p:nvGrpSpPr>
              <p:cNvPr id="168" name="Group 167">
                <a:extLst>
                  <a:ext uri="{FF2B5EF4-FFF2-40B4-BE49-F238E27FC236}">
                    <a16:creationId xmlns:a16="http://schemas.microsoft.com/office/drawing/2014/main" id="{90830E79-4FC3-1851-9148-CEED977AC407}"/>
                  </a:ext>
                </a:extLst>
              </p:cNvPr>
              <p:cNvGrpSpPr/>
              <p:nvPr/>
            </p:nvGrpSpPr>
            <p:grpSpPr>
              <a:xfrm>
                <a:off x="415859" y="1842901"/>
                <a:ext cx="1062295" cy="640614"/>
                <a:chOff x="418399" y="1842901"/>
                <a:chExt cx="1062295" cy="640614"/>
              </a:xfrm>
            </p:grpSpPr>
            <p:pic>
              <p:nvPicPr>
                <p:cNvPr id="178" name="Picture 177">
                  <a:extLst>
                    <a:ext uri="{FF2B5EF4-FFF2-40B4-BE49-F238E27FC236}">
                      <a16:creationId xmlns:a16="http://schemas.microsoft.com/office/drawing/2014/main" id="{6179327E-40A3-9139-5F5B-AF44564E5FA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1142" y="1842901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179" name="TextBox 178">
                  <a:extLst>
                    <a:ext uri="{FF2B5EF4-FFF2-40B4-BE49-F238E27FC236}">
                      <a16:creationId xmlns:a16="http://schemas.microsoft.com/office/drawing/2014/main" id="{8DB70215-B8B5-E341-F36A-AAFD348676B6}"/>
                    </a:ext>
                  </a:extLst>
                </p:cNvPr>
                <p:cNvSpPr txBox="1"/>
                <p:nvPr/>
              </p:nvSpPr>
              <p:spPr>
                <a:xfrm>
                  <a:off x="418399" y="2221905"/>
                  <a:ext cx="1062295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 err="1">
                      <a:latin typeface="Arial" panose="020B0604020202020204" pitchFamily="34" charset="0"/>
                      <a:cs typeface="Arial" panose="020B0604020202020204" pitchFamily="34" charset="0"/>
                    </a:rPr>
                    <a:t>Customer_stg</a:t>
                  </a:r>
                  <a:endParaRPr lang="en-ID" sz="11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69" name="Group 168">
                <a:extLst>
                  <a:ext uri="{FF2B5EF4-FFF2-40B4-BE49-F238E27FC236}">
                    <a16:creationId xmlns:a16="http://schemas.microsoft.com/office/drawing/2014/main" id="{6179FBC1-54CF-FD68-0D49-75F9EBB21DD8}"/>
                  </a:ext>
                </a:extLst>
              </p:cNvPr>
              <p:cNvGrpSpPr/>
              <p:nvPr/>
            </p:nvGrpSpPr>
            <p:grpSpPr>
              <a:xfrm>
                <a:off x="505604" y="2612100"/>
                <a:ext cx="924328" cy="635112"/>
                <a:chOff x="505604" y="2558913"/>
                <a:chExt cx="924328" cy="635112"/>
              </a:xfrm>
            </p:grpSpPr>
            <p:pic>
              <p:nvPicPr>
                <p:cNvPr id="176" name="Picture 175">
                  <a:extLst>
                    <a:ext uri="{FF2B5EF4-FFF2-40B4-BE49-F238E27FC236}">
                      <a16:creationId xmlns:a16="http://schemas.microsoft.com/office/drawing/2014/main" id="{CDC7A446-F482-A694-7125-ADD1C3EEE7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1142" y="2558913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177" name="TextBox 176">
                  <a:extLst>
                    <a:ext uri="{FF2B5EF4-FFF2-40B4-BE49-F238E27FC236}">
                      <a16:creationId xmlns:a16="http://schemas.microsoft.com/office/drawing/2014/main" id="{A3EB056E-F0F3-25E7-030A-8E76ACFC3A59}"/>
                    </a:ext>
                  </a:extLst>
                </p:cNvPr>
                <p:cNvSpPr txBox="1"/>
                <p:nvPr/>
              </p:nvSpPr>
              <p:spPr>
                <a:xfrm>
                  <a:off x="505604" y="2932415"/>
                  <a:ext cx="924328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 err="1">
                      <a:latin typeface="Arial" panose="020B0604020202020204" pitchFamily="34" charset="0"/>
                      <a:cs typeface="Arial" panose="020B0604020202020204" pitchFamily="34" charset="0"/>
                    </a:rPr>
                    <a:t>driver_stg</a:t>
                  </a:r>
                  <a:endParaRPr lang="en-ID" sz="11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70" name="Group 169">
                <a:extLst>
                  <a:ext uri="{FF2B5EF4-FFF2-40B4-BE49-F238E27FC236}">
                    <a16:creationId xmlns:a16="http://schemas.microsoft.com/office/drawing/2014/main" id="{8EFD4993-884E-9743-830B-1E7008EE44AC}"/>
                  </a:ext>
                </a:extLst>
              </p:cNvPr>
              <p:cNvGrpSpPr/>
              <p:nvPr/>
            </p:nvGrpSpPr>
            <p:grpSpPr>
              <a:xfrm>
                <a:off x="443448" y="3375797"/>
                <a:ext cx="986484" cy="644328"/>
                <a:chOff x="443448" y="3244956"/>
                <a:chExt cx="986484" cy="644328"/>
              </a:xfrm>
            </p:grpSpPr>
            <p:pic>
              <p:nvPicPr>
                <p:cNvPr id="174" name="Picture 173">
                  <a:extLst>
                    <a:ext uri="{FF2B5EF4-FFF2-40B4-BE49-F238E27FC236}">
                      <a16:creationId xmlns:a16="http://schemas.microsoft.com/office/drawing/2014/main" id="{F3D60A36-7763-3434-28AA-BFE673DACFE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5683" y="3244956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175" name="TextBox 174">
                  <a:extLst>
                    <a:ext uri="{FF2B5EF4-FFF2-40B4-BE49-F238E27FC236}">
                      <a16:creationId xmlns:a16="http://schemas.microsoft.com/office/drawing/2014/main" id="{B2DAB6FB-6346-58F4-8C2C-9EE5A56ED86F}"/>
                    </a:ext>
                  </a:extLst>
                </p:cNvPr>
                <p:cNvSpPr txBox="1"/>
                <p:nvPr/>
              </p:nvSpPr>
              <p:spPr>
                <a:xfrm>
                  <a:off x="443448" y="3627674"/>
                  <a:ext cx="986484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 err="1">
                      <a:latin typeface="Arial" panose="020B0604020202020204" pitchFamily="34" charset="0"/>
                      <a:cs typeface="Arial" panose="020B0604020202020204" pitchFamily="34" charset="0"/>
                    </a:rPr>
                    <a:t>Vehicle_stg</a:t>
                  </a:r>
                  <a:endParaRPr lang="en-ID" sz="11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71" name="Group 170">
                <a:extLst>
                  <a:ext uri="{FF2B5EF4-FFF2-40B4-BE49-F238E27FC236}">
                    <a16:creationId xmlns:a16="http://schemas.microsoft.com/office/drawing/2014/main" id="{ADB4ECFA-2267-FCD4-B47F-F5F87E293BEB}"/>
                  </a:ext>
                </a:extLst>
              </p:cNvPr>
              <p:cNvGrpSpPr/>
              <p:nvPr/>
            </p:nvGrpSpPr>
            <p:grpSpPr>
              <a:xfrm>
                <a:off x="505604" y="4148711"/>
                <a:ext cx="924328" cy="658951"/>
                <a:chOff x="505604" y="4148711"/>
                <a:chExt cx="924328" cy="658951"/>
              </a:xfrm>
            </p:grpSpPr>
            <p:pic>
              <p:nvPicPr>
                <p:cNvPr id="172" name="Picture 171">
                  <a:extLst>
                    <a:ext uri="{FF2B5EF4-FFF2-40B4-BE49-F238E27FC236}">
                      <a16:creationId xmlns:a16="http://schemas.microsoft.com/office/drawing/2014/main" id="{035FE457-D4E2-5AF3-6005-0ADE69CDD33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5683" y="4148711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173" name="TextBox 172">
                  <a:extLst>
                    <a:ext uri="{FF2B5EF4-FFF2-40B4-BE49-F238E27FC236}">
                      <a16:creationId xmlns:a16="http://schemas.microsoft.com/office/drawing/2014/main" id="{1A756BF2-9541-7B0C-FE87-D40C7DA7F5AB}"/>
                    </a:ext>
                  </a:extLst>
                </p:cNvPr>
                <p:cNvSpPr txBox="1"/>
                <p:nvPr/>
              </p:nvSpPr>
              <p:spPr>
                <a:xfrm>
                  <a:off x="505604" y="4546052"/>
                  <a:ext cx="924328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 err="1">
                      <a:latin typeface="Arial" panose="020B0604020202020204" pitchFamily="34" charset="0"/>
                      <a:cs typeface="Arial" panose="020B0604020202020204" pitchFamily="34" charset="0"/>
                    </a:rPr>
                    <a:t>Ride_stg</a:t>
                  </a:r>
                  <a:endParaRPr lang="en-ID" sz="11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180" name="TextBox 179">
              <a:extLst>
                <a:ext uri="{FF2B5EF4-FFF2-40B4-BE49-F238E27FC236}">
                  <a16:creationId xmlns:a16="http://schemas.microsoft.com/office/drawing/2014/main" id="{CD79A36F-8F95-E081-74AB-9071D60C85C2}"/>
                </a:ext>
              </a:extLst>
            </p:cNvPr>
            <p:cNvSpPr txBox="1"/>
            <p:nvPr/>
          </p:nvSpPr>
          <p:spPr>
            <a:xfrm>
              <a:off x="4513620" y="1479002"/>
              <a:ext cx="257162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Preparation Layer</a:t>
              </a:r>
            </a:p>
            <a:p>
              <a:pPr algn="ctr"/>
              <a:r>
                <a:rPr lang="en-US" sz="1100" dirty="0">
                  <a:latin typeface="Arial" panose="020B0604020202020204" pitchFamily="34" charset="0"/>
                  <a:cs typeface="Arial" panose="020B0604020202020204" pitchFamily="34" charset="0"/>
                </a:rPr>
                <a:t>Dataset: </a:t>
              </a:r>
              <a:r>
                <a:rPr lang="en-US" sz="1100" dirty="0" err="1">
                  <a:latin typeface="Arial" panose="020B0604020202020204" pitchFamily="34" charset="0"/>
                  <a:cs typeface="Arial" panose="020B0604020202020204" pitchFamily="34" charset="0"/>
                </a:rPr>
                <a:t>dwh_hailing_staging</a:t>
              </a:r>
              <a:endParaRPr lang="en-ID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70709075-A9D6-DD9F-5146-A906EE7171EF}"/>
              </a:ext>
            </a:extLst>
          </p:cNvPr>
          <p:cNvGrpSpPr/>
          <p:nvPr/>
        </p:nvGrpSpPr>
        <p:grpSpPr>
          <a:xfrm>
            <a:off x="9412554" y="1511358"/>
            <a:ext cx="2571623" cy="3795145"/>
            <a:chOff x="9574482" y="1479002"/>
            <a:chExt cx="2571623" cy="3795145"/>
          </a:xfrm>
        </p:grpSpPr>
        <p:grpSp>
          <p:nvGrpSpPr>
            <p:cNvPr id="197" name="Group 196">
              <a:extLst>
                <a:ext uri="{FF2B5EF4-FFF2-40B4-BE49-F238E27FC236}">
                  <a16:creationId xmlns:a16="http://schemas.microsoft.com/office/drawing/2014/main" id="{4CA2D114-31AE-2D9F-AC77-D82A27BBD4EB}"/>
                </a:ext>
              </a:extLst>
            </p:cNvPr>
            <p:cNvGrpSpPr/>
            <p:nvPr/>
          </p:nvGrpSpPr>
          <p:grpSpPr>
            <a:xfrm>
              <a:off x="10318389" y="2002222"/>
              <a:ext cx="1083811" cy="3271925"/>
              <a:chOff x="405543" y="1693775"/>
              <a:chExt cx="1083811" cy="3271925"/>
            </a:xfrm>
          </p:grpSpPr>
          <p:sp>
            <p:nvSpPr>
              <p:cNvPr id="198" name="Rectangle: Rounded Corners 197">
                <a:extLst>
                  <a:ext uri="{FF2B5EF4-FFF2-40B4-BE49-F238E27FC236}">
                    <a16:creationId xmlns:a16="http://schemas.microsoft.com/office/drawing/2014/main" id="{CD396F2E-6FEF-34EF-A0B3-F7B9D368754A}"/>
                  </a:ext>
                </a:extLst>
              </p:cNvPr>
              <p:cNvSpPr/>
              <p:nvPr/>
            </p:nvSpPr>
            <p:spPr>
              <a:xfrm>
                <a:off x="405543" y="1693775"/>
                <a:ext cx="1083811" cy="3271925"/>
              </a:xfrm>
              <a:prstGeom prst="roundRect">
                <a:avLst>
                  <a:gd name="adj" fmla="val 7509"/>
                </a:avLst>
              </a:prstGeom>
              <a:gradFill flip="none" rotWithShape="1">
                <a:gsLst>
                  <a:gs pos="0">
                    <a:srgbClr val="051C39"/>
                  </a:gs>
                  <a:gs pos="100000">
                    <a:srgbClr val="2552E3"/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noFill/>
                <a:prstDash val="solid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sp>
            <p:nvSpPr>
              <p:cNvPr id="199" name="Rectangle: Rounded Corners 198">
                <a:extLst>
                  <a:ext uri="{FF2B5EF4-FFF2-40B4-BE49-F238E27FC236}">
                    <a16:creationId xmlns:a16="http://schemas.microsoft.com/office/drawing/2014/main" id="{CD16B40E-EDB2-3C5D-E2B6-806615A40D81}"/>
                  </a:ext>
                </a:extLst>
              </p:cNvPr>
              <p:cNvSpPr/>
              <p:nvPr/>
            </p:nvSpPr>
            <p:spPr>
              <a:xfrm>
                <a:off x="443448" y="1726155"/>
                <a:ext cx="1008000" cy="3205414"/>
              </a:xfrm>
              <a:prstGeom prst="roundRect">
                <a:avLst>
                  <a:gd name="adj" fmla="val 7509"/>
                </a:avLst>
              </a:prstGeom>
              <a:solidFill>
                <a:schemeClr val="bg1"/>
              </a:solidFill>
              <a:ln>
                <a:noFill/>
                <a:prstDash val="solid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grpSp>
            <p:nvGrpSpPr>
              <p:cNvPr id="200" name="Group 199">
                <a:extLst>
                  <a:ext uri="{FF2B5EF4-FFF2-40B4-BE49-F238E27FC236}">
                    <a16:creationId xmlns:a16="http://schemas.microsoft.com/office/drawing/2014/main" id="{ABC3FF0C-723A-A74B-2A2F-8AF9F86092F3}"/>
                  </a:ext>
                </a:extLst>
              </p:cNvPr>
              <p:cNvGrpSpPr/>
              <p:nvPr/>
            </p:nvGrpSpPr>
            <p:grpSpPr>
              <a:xfrm>
                <a:off x="415859" y="2410418"/>
                <a:ext cx="1062295" cy="809891"/>
                <a:chOff x="418399" y="2410418"/>
                <a:chExt cx="1062295" cy="809891"/>
              </a:xfrm>
            </p:grpSpPr>
            <p:pic>
              <p:nvPicPr>
                <p:cNvPr id="210" name="Picture 209">
                  <a:extLst>
                    <a:ext uri="{FF2B5EF4-FFF2-40B4-BE49-F238E27FC236}">
                      <a16:creationId xmlns:a16="http://schemas.microsoft.com/office/drawing/2014/main" id="{0A0C38E4-04EF-6949-B1F7-6309324B48C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1142" y="2410418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211" name="TextBox 210">
                  <a:extLst>
                    <a:ext uri="{FF2B5EF4-FFF2-40B4-BE49-F238E27FC236}">
                      <a16:creationId xmlns:a16="http://schemas.microsoft.com/office/drawing/2014/main" id="{AE01F4E3-E2AC-9316-9D75-1050FE24FCF5}"/>
                    </a:ext>
                  </a:extLst>
                </p:cNvPr>
                <p:cNvSpPr txBox="1"/>
                <p:nvPr/>
              </p:nvSpPr>
              <p:spPr>
                <a:xfrm>
                  <a:off x="418399" y="2789422"/>
                  <a:ext cx="1062295" cy="4308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 err="1">
                      <a:latin typeface="Arial" panose="020B0604020202020204" pitchFamily="34" charset="0"/>
                      <a:cs typeface="Arial" panose="020B0604020202020204" pitchFamily="34" charset="0"/>
                    </a:rPr>
                    <a:t>Mart_cust_rides_daily</a:t>
                  </a:r>
                  <a:endParaRPr lang="en-ID" sz="11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01" name="Group 200">
                <a:extLst>
                  <a:ext uri="{FF2B5EF4-FFF2-40B4-BE49-F238E27FC236}">
                    <a16:creationId xmlns:a16="http://schemas.microsoft.com/office/drawing/2014/main" id="{C783A4BA-C86F-7CEC-091C-4BA9DD0BAC1C}"/>
                  </a:ext>
                </a:extLst>
              </p:cNvPr>
              <p:cNvGrpSpPr/>
              <p:nvPr/>
            </p:nvGrpSpPr>
            <p:grpSpPr>
              <a:xfrm>
                <a:off x="505604" y="3509901"/>
                <a:ext cx="924328" cy="973666"/>
                <a:chOff x="505604" y="3456714"/>
                <a:chExt cx="924328" cy="973666"/>
              </a:xfrm>
            </p:grpSpPr>
            <p:pic>
              <p:nvPicPr>
                <p:cNvPr id="208" name="Picture 207">
                  <a:extLst>
                    <a:ext uri="{FF2B5EF4-FFF2-40B4-BE49-F238E27FC236}">
                      <a16:creationId xmlns:a16="http://schemas.microsoft.com/office/drawing/2014/main" id="{5129DA9B-16B3-CC2C-CE8C-5FA66982E6E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1142" y="3456714"/>
                  <a:ext cx="444170" cy="444170"/>
                </a:xfrm>
                <a:prstGeom prst="rect">
                  <a:avLst/>
                </a:prstGeom>
              </p:spPr>
            </p:pic>
            <p:sp>
              <p:nvSpPr>
                <p:cNvPr id="209" name="TextBox 208">
                  <a:extLst>
                    <a:ext uri="{FF2B5EF4-FFF2-40B4-BE49-F238E27FC236}">
                      <a16:creationId xmlns:a16="http://schemas.microsoft.com/office/drawing/2014/main" id="{559C7614-3E68-AAB7-E9A6-BFA34FF3B075}"/>
                    </a:ext>
                  </a:extLst>
                </p:cNvPr>
                <p:cNvSpPr txBox="1"/>
                <p:nvPr/>
              </p:nvSpPr>
              <p:spPr>
                <a:xfrm>
                  <a:off x="505604" y="3830216"/>
                  <a:ext cx="924328" cy="60016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 err="1">
                      <a:latin typeface="Arial" panose="020B0604020202020204" pitchFamily="34" charset="0"/>
                      <a:cs typeface="Arial" panose="020B0604020202020204" pitchFamily="34" charset="0"/>
                    </a:rPr>
                    <a:t>Mart_driver_loyalty_mgmt</a:t>
                  </a:r>
                  <a:endParaRPr lang="en-ID" sz="11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212" name="TextBox 211">
              <a:extLst>
                <a:ext uri="{FF2B5EF4-FFF2-40B4-BE49-F238E27FC236}">
                  <a16:creationId xmlns:a16="http://schemas.microsoft.com/office/drawing/2014/main" id="{C963449D-49F8-061C-7C09-186B63859812}"/>
                </a:ext>
              </a:extLst>
            </p:cNvPr>
            <p:cNvSpPr txBox="1"/>
            <p:nvPr/>
          </p:nvSpPr>
          <p:spPr>
            <a:xfrm>
              <a:off x="9574482" y="1479002"/>
              <a:ext cx="257162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Marts Layer</a:t>
              </a:r>
            </a:p>
            <a:p>
              <a:pPr algn="ctr"/>
              <a:r>
                <a:rPr lang="en-US" sz="1100" dirty="0">
                  <a:latin typeface="Arial" panose="020B0604020202020204" pitchFamily="34" charset="0"/>
                  <a:cs typeface="Arial" panose="020B0604020202020204" pitchFamily="34" charset="0"/>
                </a:rPr>
                <a:t>Dataset: </a:t>
              </a:r>
              <a:r>
                <a:rPr lang="en-US" sz="1100" dirty="0" err="1">
                  <a:latin typeface="Arial" panose="020B0604020202020204" pitchFamily="34" charset="0"/>
                  <a:cs typeface="Arial" panose="020B0604020202020204" pitchFamily="34" charset="0"/>
                </a:rPr>
                <a:t>dwh_hailing_marts</a:t>
              </a:r>
              <a:endParaRPr lang="en-ID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220" name="Straight Arrow Connector 219">
            <a:extLst>
              <a:ext uri="{FF2B5EF4-FFF2-40B4-BE49-F238E27FC236}">
                <a16:creationId xmlns:a16="http://schemas.microsoft.com/office/drawing/2014/main" id="{B4DDF229-FBDA-ECCF-6AC3-3F5AFD48A2FE}"/>
              </a:ext>
            </a:extLst>
          </p:cNvPr>
          <p:cNvCxnSpPr>
            <a:cxnSpLocks/>
            <a:stCxn id="19" idx="3"/>
            <a:endCxn id="150" idx="1"/>
          </p:cNvCxnSpPr>
          <p:nvPr/>
        </p:nvCxnSpPr>
        <p:spPr>
          <a:xfrm>
            <a:off x="1377775" y="3670541"/>
            <a:ext cx="1205452" cy="0"/>
          </a:xfrm>
          <a:prstGeom prst="straightConnector1">
            <a:avLst/>
          </a:prstGeom>
          <a:ln>
            <a:solidFill>
              <a:srgbClr val="2552E3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2" name="Oval 221">
            <a:extLst>
              <a:ext uri="{FF2B5EF4-FFF2-40B4-BE49-F238E27FC236}">
                <a16:creationId xmlns:a16="http://schemas.microsoft.com/office/drawing/2014/main" id="{F44EDC6F-ACB0-428F-CA44-377B695A2D0B}"/>
              </a:ext>
            </a:extLst>
          </p:cNvPr>
          <p:cNvSpPr/>
          <p:nvPr/>
        </p:nvSpPr>
        <p:spPr>
          <a:xfrm>
            <a:off x="1679289" y="3512372"/>
            <a:ext cx="314585" cy="314585"/>
          </a:xfrm>
          <a:prstGeom prst="ellipse">
            <a:avLst/>
          </a:prstGeom>
          <a:gradFill>
            <a:gsLst>
              <a:gs pos="44000">
                <a:srgbClr val="2552E2"/>
              </a:gs>
              <a:gs pos="100000">
                <a:srgbClr val="061E3F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eorgia" panose="02040502050405020303" pitchFamily="18" charset="0"/>
                <a:cs typeface="Arial" panose="020B0604020202020204" pitchFamily="34" charset="0"/>
              </a:rPr>
              <a:t>&gt;</a:t>
            </a:r>
            <a:endParaRPr lang="en-ID" sz="1400" dirty="0"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cxnSp>
        <p:nvCxnSpPr>
          <p:cNvPr id="223" name="Straight Arrow Connector 222">
            <a:extLst>
              <a:ext uri="{FF2B5EF4-FFF2-40B4-BE49-F238E27FC236}">
                <a16:creationId xmlns:a16="http://schemas.microsoft.com/office/drawing/2014/main" id="{A2D5C59F-C873-88E2-376B-4C5BC229FEC8}"/>
              </a:ext>
            </a:extLst>
          </p:cNvPr>
          <p:cNvCxnSpPr>
            <a:cxnSpLocks/>
            <a:stCxn id="150" idx="3"/>
            <a:endCxn id="166" idx="1"/>
          </p:cNvCxnSpPr>
          <p:nvPr/>
        </p:nvCxnSpPr>
        <p:spPr>
          <a:xfrm>
            <a:off x="3667038" y="3670541"/>
            <a:ext cx="1440600" cy="0"/>
          </a:xfrm>
          <a:prstGeom prst="straightConnector1">
            <a:avLst/>
          </a:prstGeom>
          <a:ln>
            <a:solidFill>
              <a:srgbClr val="2552E3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Arrow Connector 226">
            <a:extLst>
              <a:ext uri="{FF2B5EF4-FFF2-40B4-BE49-F238E27FC236}">
                <a16:creationId xmlns:a16="http://schemas.microsoft.com/office/drawing/2014/main" id="{6F435C16-7D39-5B46-10A4-9D1ACBD44128}"/>
              </a:ext>
            </a:extLst>
          </p:cNvPr>
          <p:cNvCxnSpPr>
            <a:cxnSpLocks/>
            <a:stCxn id="166" idx="3"/>
            <a:endCxn id="182" idx="1"/>
          </p:cNvCxnSpPr>
          <p:nvPr/>
        </p:nvCxnSpPr>
        <p:spPr>
          <a:xfrm>
            <a:off x="6191449" y="3670541"/>
            <a:ext cx="1440600" cy="0"/>
          </a:xfrm>
          <a:prstGeom prst="straightConnector1">
            <a:avLst/>
          </a:prstGeom>
          <a:ln>
            <a:solidFill>
              <a:srgbClr val="2552E3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Arrow Connector 230">
            <a:extLst>
              <a:ext uri="{FF2B5EF4-FFF2-40B4-BE49-F238E27FC236}">
                <a16:creationId xmlns:a16="http://schemas.microsoft.com/office/drawing/2014/main" id="{E37CE65F-EFBF-C7D1-006F-A3834D5436CE}"/>
              </a:ext>
            </a:extLst>
          </p:cNvPr>
          <p:cNvCxnSpPr>
            <a:cxnSpLocks/>
            <a:stCxn id="182" idx="3"/>
            <a:endCxn id="198" idx="1"/>
          </p:cNvCxnSpPr>
          <p:nvPr/>
        </p:nvCxnSpPr>
        <p:spPr>
          <a:xfrm>
            <a:off x="8715860" y="3670541"/>
            <a:ext cx="1440601" cy="0"/>
          </a:xfrm>
          <a:prstGeom prst="straightConnector1">
            <a:avLst/>
          </a:prstGeom>
          <a:ln>
            <a:solidFill>
              <a:srgbClr val="2552E3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5" name="Oval 234">
            <a:extLst>
              <a:ext uri="{FF2B5EF4-FFF2-40B4-BE49-F238E27FC236}">
                <a16:creationId xmlns:a16="http://schemas.microsoft.com/office/drawing/2014/main" id="{2B18BF07-2FE6-D06E-C59B-EC2EEEA5B793}"/>
              </a:ext>
            </a:extLst>
          </p:cNvPr>
          <p:cNvSpPr/>
          <p:nvPr/>
        </p:nvSpPr>
        <p:spPr>
          <a:xfrm>
            <a:off x="4137515" y="3512372"/>
            <a:ext cx="314585" cy="314585"/>
          </a:xfrm>
          <a:prstGeom prst="ellipse">
            <a:avLst/>
          </a:prstGeom>
          <a:gradFill>
            <a:gsLst>
              <a:gs pos="44000">
                <a:srgbClr val="2552E2"/>
              </a:gs>
              <a:gs pos="100000">
                <a:srgbClr val="061E3F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eorgia" panose="02040502050405020303" pitchFamily="18" charset="0"/>
                <a:cs typeface="Arial" panose="020B0604020202020204" pitchFamily="34" charset="0"/>
              </a:rPr>
              <a:t>&gt;</a:t>
            </a:r>
            <a:endParaRPr lang="en-ID" sz="1400" dirty="0"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6B809899-9A87-9856-6BD6-21409AB1EC03}"/>
              </a:ext>
            </a:extLst>
          </p:cNvPr>
          <p:cNvSpPr/>
          <p:nvPr/>
        </p:nvSpPr>
        <p:spPr>
          <a:xfrm>
            <a:off x="6680726" y="3512372"/>
            <a:ext cx="314585" cy="314585"/>
          </a:xfrm>
          <a:prstGeom prst="ellipse">
            <a:avLst/>
          </a:prstGeom>
          <a:gradFill>
            <a:gsLst>
              <a:gs pos="44000">
                <a:srgbClr val="2552E2"/>
              </a:gs>
              <a:gs pos="100000">
                <a:srgbClr val="061E3F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eorgia" panose="02040502050405020303" pitchFamily="18" charset="0"/>
                <a:cs typeface="Arial" panose="020B0604020202020204" pitchFamily="34" charset="0"/>
              </a:rPr>
              <a:t>&gt;</a:t>
            </a:r>
            <a:endParaRPr lang="en-ID" sz="1400" dirty="0"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237" name="Oval 236">
            <a:extLst>
              <a:ext uri="{FF2B5EF4-FFF2-40B4-BE49-F238E27FC236}">
                <a16:creationId xmlns:a16="http://schemas.microsoft.com/office/drawing/2014/main" id="{6D0766C5-D60F-D455-5B1E-20F4D58C527A}"/>
              </a:ext>
            </a:extLst>
          </p:cNvPr>
          <p:cNvSpPr/>
          <p:nvPr/>
        </p:nvSpPr>
        <p:spPr>
          <a:xfrm>
            <a:off x="9054601" y="3512372"/>
            <a:ext cx="314585" cy="314585"/>
          </a:xfrm>
          <a:prstGeom prst="ellipse">
            <a:avLst/>
          </a:prstGeom>
          <a:gradFill>
            <a:gsLst>
              <a:gs pos="44000">
                <a:srgbClr val="2552E2"/>
              </a:gs>
              <a:gs pos="100000">
                <a:srgbClr val="061E3F"/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Georgia" panose="02040502050405020303" pitchFamily="18" charset="0"/>
                <a:cs typeface="Arial" panose="020B0604020202020204" pitchFamily="34" charset="0"/>
              </a:rPr>
              <a:t>&gt;</a:t>
            </a:r>
            <a:endParaRPr lang="en-ID" sz="1400" dirty="0"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cxnSp>
        <p:nvCxnSpPr>
          <p:cNvPr id="242" name="Straight Connector 68">
            <a:extLst>
              <a:ext uri="{FF2B5EF4-FFF2-40B4-BE49-F238E27FC236}">
                <a16:creationId xmlns:a16="http://schemas.microsoft.com/office/drawing/2014/main" id="{8FB384FA-982E-8847-52D1-DA88947520A4}"/>
              </a:ext>
            </a:extLst>
          </p:cNvPr>
          <p:cNvCxnSpPr>
            <a:cxnSpLocks/>
            <a:stCxn id="264" idx="1"/>
            <a:endCxn id="235" idx="4"/>
          </p:cNvCxnSpPr>
          <p:nvPr/>
        </p:nvCxnSpPr>
        <p:spPr>
          <a:xfrm rot="10800000">
            <a:off x="4294808" y="3826957"/>
            <a:ext cx="1168460" cy="1925300"/>
          </a:xfrm>
          <a:prstGeom prst="bentConnector2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37" name="Group 336">
            <a:extLst>
              <a:ext uri="{FF2B5EF4-FFF2-40B4-BE49-F238E27FC236}">
                <a16:creationId xmlns:a16="http://schemas.microsoft.com/office/drawing/2014/main" id="{FE81F0EE-6C0D-A0E2-97CA-C54D9F989ACB}"/>
              </a:ext>
            </a:extLst>
          </p:cNvPr>
          <p:cNvGrpSpPr/>
          <p:nvPr/>
        </p:nvGrpSpPr>
        <p:grpSpPr>
          <a:xfrm>
            <a:off x="5463268" y="5547517"/>
            <a:ext cx="2749500" cy="409480"/>
            <a:chOff x="5688696" y="5773001"/>
            <a:chExt cx="2749500" cy="488285"/>
          </a:xfrm>
        </p:grpSpPr>
        <p:grpSp>
          <p:nvGrpSpPr>
            <p:cNvPr id="269" name="Group 268">
              <a:extLst>
                <a:ext uri="{FF2B5EF4-FFF2-40B4-BE49-F238E27FC236}">
                  <a16:creationId xmlns:a16="http://schemas.microsoft.com/office/drawing/2014/main" id="{4665DDB0-B461-D1E2-C652-11540933BB10}"/>
                </a:ext>
              </a:extLst>
            </p:cNvPr>
            <p:cNvGrpSpPr/>
            <p:nvPr/>
          </p:nvGrpSpPr>
          <p:grpSpPr>
            <a:xfrm>
              <a:off x="5688696" y="5773001"/>
              <a:ext cx="2749500" cy="488285"/>
              <a:chOff x="5755648" y="5777260"/>
              <a:chExt cx="2749500" cy="488285"/>
            </a:xfrm>
          </p:grpSpPr>
          <p:sp>
            <p:nvSpPr>
              <p:cNvPr id="264" name="Rectangle: Rounded Corners 263">
                <a:extLst>
                  <a:ext uri="{FF2B5EF4-FFF2-40B4-BE49-F238E27FC236}">
                    <a16:creationId xmlns:a16="http://schemas.microsoft.com/office/drawing/2014/main" id="{3CD4C35C-552C-67FA-1979-A2F513B0EF0D}"/>
                  </a:ext>
                </a:extLst>
              </p:cNvPr>
              <p:cNvSpPr/>
              <p:nvPr/>
            </p:nvSpPr>
            <p:spPr>
              <a:xfrm>
                <a:off x="5755648" y="5777260"/>
                <a:ext cx="2749500" cy="488285"/>
              </a:xfrm>
              <a:prstGeom prst="roundRect">
                <a:avLst>
                  <a:gd name="adj" fmla="val 8547"/>
                </a:avLst>
              </a:prstGeom>
              <a:solidFill>
                <a:schemeClr val="bg1"/>
              </a:solidFill>
              <a:ln w="6350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/>
              </a:p>
            </p:txBody>
          </p:sp>
          <p:pic>
            <p:nvPicPr>
              <p:cNvPr id="248" name="Picture 247">
                <a:extLst>
                  <a:ext uri="{FF2B5EF4-FFF2-40B4-BE49-F238E27FC236}">
                    <a16:creationId xmlns:a16="http://schemas.microsoft.com/office/drawing/2014/main" id="{13B3DA5B-4D21-C517-8E18-17B4B18051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522002" y="5854145"/>
                <a:ext cx="861010" cy="320210"/>
              </a:xfrm>
              <a:prstGeom prst="rect">
                <a:avLst/>
              </a:prstGeom>
            </p:spPr>
          </p:pic>
        </p:grpSp>
        <p:sp>
          <p:nvSpPr>
            <p:cNvPr id="249" name="TextBox 248">
              <a:extLst>
                <a:ext uri="{FF2B5EF4-FFF2-40B4-BE49-F238E27FC236}">
                  <a16:creationId xmlns:a16="http://schemas.microsoft.com/office/drawing/2014/main" id="{9FB63D11-22BD-AFD3-3FAF-93D7A4B6BCEE}"/>
                </a:ext>
              </a:extLst>
            </p:cNvPr>
            <p:cNvSpPr txBox="1"/>
            <p:nvPr/>
          </p:nvSpPr>
          <p:spPr>
            <a:xfrm>
              <a:off x="5730358" y="5871498"/>
              <a:ext cx="185683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Transformation using:</a:t>
              </a:r>
              <a:endParaRPr lang="en-ID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58" name="Rectangle: Rounded Corners 257">
            <a:extLst>
              <a:ext uri="{FF2B5EF4-FFF2-40B4-BE49-F238E27FC236}">
                <a16:creationId xmlns:a16="http://schemas.microsoft.com/office/drawing/2014/main" id="{AFE1ACAE-386F-F884-E0B3-B2445CD86C23}"/>
              </a:ext>
            </a:extLst>
          </p:cNvPr>
          <p:cNvSpPr/>
          <p:nvPr/>
        </p:nvSpPr>
        <p:spPr>
          <a:xfrm rot="16200000">
            <a:off x="6713322" y="-3698497"/>
            <a:ext cx="337762" cy="9746411"/>
          </a:xfrm>
          <a:prstGeom prst="roundRect">
            <a:avLst>
              <a:gd name="adj" fmla="val 7509"/>
            </a:avLst>
          </a:prstGeom>
          <a:gradFill flip="none" rotWithShape="1">
            <a:gsLst>
              <a:gs pos="0">
                <a:srgbClr val="051C39"/>
              </a:gs>
              <a:gs pos="100000">
                <a:srgbClr val="2552E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53" name="Picture 252">
            <a:extLst>
              <a:ext uri="{FF2B5EF4-FFF2-40B4-BE49-F238E27FC236}">
                <a16:creationId xmlns:a16="http://schemas.microsoft.com/office/drawing/2014/main" id="{D73D5281-F0DD-6C4E-BFCA-89EDFEDB6DD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2369" y="1020957"/>
            <a:ext cx="321683" cy="321683"/>
          </a:xfrm>
          <a:prstGeom prst="rect">
            <a:avLst/>
          </a:prstGeom>
        </p:spPr>
      </p:pic>
      <p:sp>
        <p:nvSpPr>
          <p:cNvPr id="259" name="TextBox 258">
            <a:extLst>
              <a:ext uri="{FF2B5EF4-FFF2-40B4-BE49-F238E27FC236}">
                <a16:creationId xmlns:a16="http://schemas.microsoft.com/office/drawing/2014/main" id="{4E3DB16C-8B24-1CC9-CE51-E4B1360E3873}"/>
              </a:ext>
            </a:extLst>
          </p:cNvPr>
          <p:cNvSpPr txBox="1"/>
          <p:nvPr/>
        </p:nvSpPr>
        <p:spPr>
          <a:xfrm>
            <a:off x="4622752" y="1020820"/>
            <a:ext cx="48871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Warehouse: </a:t>
            </a: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ogle’s </a:t>
            </a:r>
            <a:r>
              <a:rPr 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gQuery</a:t>
            </a:r>
            <a:endParaRPr lang="en-ID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1" name="Rectangle: Rounded Corners 260">
            <a:extLst>
              <a:ext uri="{FF2B5EF4-FFF2-40B4-BE49-F238E27FC236}">
                <a16:creationId xmlns:a16="http://schemas.microsoft.com/office/drawing/2014/main" id="{D33734EB-DD1B-F97B-07E5-117674533776}"/>
              </a:ext>
            </a:extLst>
          </p:cNvPr>
          <p:cNvSpPr/>
          <p:nvPr/>
        </p:nvSpPr>
        <p:spPr>
          <a:xfrm rot="16200000">
            <a:off x="668248" y="633114"/>
            <a:ext cx="337763" cy="1081292"/>
          </a:xfrm>
          <a:prstGeom prst="roundRect">
            <a:avLst>
              <a:gd name="adj" fmla="val 7509"/>
            </a:avLst>
          </a:prstGeom>
          <a:gradFill flip="none" rotWithShape="0">
            <a:gsLst>
              <a:gs pos="29000">
                <a:srgbClr val="051C39"/>
              </a:gs>
              <a:gs pos="100000">
                <a:srgbClr val="2552E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9249DA84-E4BF-B40A-13A9-FF0AB9B6F310}"/>
              </a:ext>
            </a:extLst>
          </p:cNvPr>
          <p:cNvSpPr txBox="1"/>
          <p:nvPr/>
        </p:nvSpPr>
        <p:spPr>
          <a:xfrm>
            <a:off x="603650" y="1012211"/>
            <a:ext cx="800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gre</a:t>
            </a:r>
            <a:endParaRPr lang="en-ID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3" name="Picture 262">
            <a:extLst>
              <a:ext uri="{FF2B5EF4-FFF2-40B4-BE49-F238E27FC236}">
                <a16:creationId xmlns:a16="http://schemas.microsoft.com/office/drawing/2014/main" id="{8D0B89D7-FA07-8AFB-7EC8-DEF1B430678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587" y="1020820"/>
            <a:ext cx="298459" cy="307777"/>
          </a:xfrm>
          <a:prstGeom prst="rect">
            <a:avLst/>
          </a:prstGeom>
        </p:spPr>
      </p:pic>
      <p:cxnSp>
        <p:nvCxnSpPr>
          <p:cNvPr id="266" name="Straight Connector 68">
            <a:extLst>
              <a:ext uri="{FF2B5EF4-FFF2-40B4-BE49-F238E27FC236}">
                <a16:creationId xmlns:a16="http://schemas.microsoft.com/office/drawing/2014/main" id="{FDB021AD-D33E-4DF6-5E07-D5532843F7C5}"/>
              </a:ext>
            </a:extLst>
          </p:cNvPr>
          <p:cNvCxnSpPr>
            <a:cxnSpLocks/>
            <a:stCxn id="264" idx="0"/>
            <a:endCxn id="236" idx="4"/>
          </p:cNvCxnSpPr>
          <p:nvPr/>
        </p:nvCxnSpPr>
        <p:spPr>
          <a:xfrm flipV="1">
            <a:off x="6838018" y="3826957"/>
            <a:ext cx="1" cy="172056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0" name="Straight Connector 68">
            <a:extLst>
              <a:ext uri="{FF2B5EF4-FFF2-40B4-BE49-F238E27FC236}">
                <a16:creationId xmlns:a16="http://schemas.microsoft.com/office/drawing/2014/main" id="{B20F0C4C-1099-02D2-1FC6-20C7686B6A5B}"/>
              </a:ext>
            </a:extLst>
          </p:cNvPr>
          <p:cNvCxnSpPr>
            <a:cxnSpLocks/>
            <a:stCxn id="264" idx="3"/>
            <a:endCxn id="237" idx="4"/>
          </p:cNvCxnSpPr>
          <p:nvPr/>
        </p:nvCxnSpPr>
        <p:spPr>
          <a:xfrm flipV="1">
            <a:off x="8212768" y="3826957"/>
            <a:ext cx="999126" cy="1925300"/>
          </a:xfrm>
          <a:prstGeom prst="bentConnector2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9" name="Straight Connector 68">
            <a:extLst>
              <a:ext uri="{FF2B5EF4-FFF2-40B4-BE49-F238E27FC236}">
                <a16:creationId xmlns:a16="http://schemas.microsoft.com/office/drawing/2014/main" id="{F3C09AA3-8565-3E7A-720E-55D3000D5985}"/>
              </a:ext>
            </a:extLst>
          </p:cNvPr>
          <p:cNvCxnSpPr>
            <a:cxnSpLocks/>
            <a:endCxn id="222" idx="4"/>
          </p:cNvCxnSpPr>
          <p:nvPr/>
        </p:nvCxnSpPr>
        <p:spPr>
          <a:xfrm flipV="1">
            <a:off x="1836582" y="3826957"/>
            <a:ext cx="0" cy="1742305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4" name="Straight Connector 68">
            <a:extLst>
              <a:ext uri="{FF2B5EF4-FFF2-40B4-BE49-F238E27FC236}">
                <a16:creationId xmlns:a16="http://schemas.microsoft.com/office/drawing/2014/main" id="{635171EC-9EEA-FF07-6D93-B555AB1224DC}"/>
              </a:ext>
            </a:extLst>
          </p:cNvPr>
          <p:cNvCxnSpPr>
            <a:cxnSpLocks/>
            <a:stCxn id="370" idx="1"/>
            <a:endCxn id="341" idx="2"/>
          </p:cNvCxnSpPr>
          <p:nvPr/>
        </p:nvCxnSpPr>
        <p:spPr>
          <a:xfrm rot="10800000">
            <a:off x="1849533" y="5937304"/>
            <a:ext cx="1192540" cy="328004"/>
          </a:xfrm>
          <a:prstGeom prst="bentConnector2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44" name="Group 343">
            <a:extLst>
              <a:ext uri="{FF2B5EF4-FFF2-40B4-BE49-F238E27FC236}">
                <a16:creationId xmlns:a16="http://schemas.microsoft.com/office/drawing/2014/main" id="{F2AE99C9-37D7-5A68-6B46-E6C8C00E8381}"/>
              </a:ext>
            </a:extLst>
          </p:cNvPr>
          <p:cNvGrpSpPr/>
          <p:nvPr/>
        </p:nvGrpSpPr>
        <p:grpSpPr>
          <a:xfrm>
            <a:off x="648718" y="5527823"/>
            <a:ext cx="2181563" cy="409481"/>
            <a:chOff x="1146722" y="5773001"/>
            <a:chExt cx="2181563" cy="488285"/>
          </a:xfrm>
        </p:grpSpPr>
        <p:grpSp>
          <p:nvGrpSpPr>
            <p:cNvPr id="338" name="Group 337">
              <a:extLst>
                <a:ext uri="{FF2B5EF4-FFF2-40B4-BE49-F238E27FC236}">
                  <a16:creationId xmlns:a16="http://schemas.microsoft.com/office/drawing/2014/main" id="{BD0DD624-8207-D114-AE75-AD3476B3E01C}"/>
                </a:ext>
              </a:extLst>
            </p:cNvPr>
            <p:cNvGrpSpPr/>
            <p:nvPr/>
          </p:nvGrpSpPr>
          <p:grpSpPr>
            <a:xfrm>
              <a:off x="1146722" y="5773001"/>
              <a:ext cx="2181563" cy="488285"/>
              <a:chOff x="5730358" y="5773001"/>
              <a:chExt cx="2181563" cy="488285"/>
            </a:xfrm>
          </p:grpSpPr>
          <p:sp>
            <p:nvSpPr>
              <p:cNvPr id="341" name="Rectangle: Rounded Corners 340">
                <a:extLst>
                  <a:ext uri="{FF2B5EF4-FFF2-40B4-BE49-F238E27FC236}">
                    <a16:creationId xmlns:a16="http://schemas.microsoft.com/office/drawing/2014/main" id="{02EB07B6-852D-3A7C-E233-59FB1BB52C7C}"/>
                  </a:ext>
                </a:extLst>
              </p:cNvPr>
              <p:cNvSpPr/>
              <p:nvPr/>
            </p:nvSpPr>
            <p:spPr>
              <a:xfrm>
                <a:off x="5950425" y="5773001"/>
                <a:ext cx="1961496" cy="488285"/>
              </a:xfrm>
              <a:prstGeom prst="roundRect">
                <a:avLst>
                  <a:gd name="adj" fmla="val 8547"/>
                </a:avLst>
              </a:prstGeom>
              <a:solidFill>
                <a:schemeClr val="bg1"/>
              </a:solidFill>
              <a:ln w="6350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100" dirty="0"/>
              </a:p>
            </p:txBody>
          </p:sp>
          <p:sp>
            <p:nvSpPr>
              <p:cNvPr id="340" name="TextBox 339">
                <a:extLst>
                  <a:ext uri="{FF2B5EF4-FFF2-40B4-BE49-F238E27FC236}">
                    <a16:creationId xmlns:a16="http://schemas.microsoft.com/office/drawing/2014/main" id="{E55C982B-9365-ECE2-D01C-313DB0BED1D2}"/>
                  </a:ext>
                </a:extLst>
              </p:cNvPr>
              <p:cNvSpPr txBox="1"/>
              <p:nvPr/>
            </p:nvSpPr>
            <p:spPr>
              <a:xfrm>
                <a:off x="5730358" y="5871498"/>
                <a:ext cx="1856833" cy="3119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ELT Ingestion using:</a:t>
                </a:r>
                <a:endParaRPr lang="en-ID" sz="11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343" name="Picture 342">
              <a:extLst>
                <a:ext uri="{FF2B5EF4-FFF2-40B4-BE49-F238E27FC236}">
                  <a16:creationId xmlns:a16="http://schemas.microsoft.com/office/drawing/2014/main" id="{5051B477-A5EB-9D44-33EB-8DDD1701C9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1862" y="5861022"/>
              <a:ext cx="332466" cy="364716"/>
            </a:xfrm>
            <a:prstGeom prst="rect">
              <a:avLst/>
            </a:prstGeom>
          </p:spPr>
        </p:pic>
      </p:grpSp>
      <p:cxnSp>
        <p:nvCxnSpPr>
          <p:cNvPr id="352" name="Straight Connector 68">
            <a:extLst>
              <a:ext uri="{FF2B5EF4-FFF2-40B4-BE49-F238E27FC236}">
                <a16:creationId xmlns:a16="http://schemas.microsoft.com/office/drawing/2014/main" id="{392680B5-5267-9201-F2EC-B2810A0F9F14}"/>
              </a:ext>
            </a:extLst>
          </p:cNvPr>
          <p:cNvCxnSpPr>
            <a:cxnSpLocks/>
            <a:stCxn id="370" idx="3"/>
            <a:endCxn id="264" idx="2"/>
          </p:cNvCxnSpPr>
          <p:nvPr/>
        </p:nvCxnSpPr>
        <p:spPr>
          <a:xfrm flipV="1">
            <a:off x="5307287" y="5956997"/>
            <a:ext cx="1530731" cy="308311"/>
          </a:xfrm>
          <a:prstGeom prst="bentConnector2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82" name="Group 381">
            <a:extLst>
              <a:ext uri="{FF2B5EF4-FFF2-40B4-BE49-F238E27FC236}">
                <a16:creationId xmlns:a16="http://schemas.microsoft.com/office/drawing/2014/main" id="{7C08FBED-71D2-8453-FC04-6E55C98E9714}"/>
              </a:ext>
            </a:extLst>
          </p:cNvPr>
          <p:cNvGrpSpPr/>
          <p:nvPr/>
        </p:nvGrpSpPr>
        <p:grpSpPr>
          <a:xfrm>
            <a:off x="3042073" y="6051755"/>
            <a:ext cx="2265214" cy="393525"/>
            <a:chOff x="2862931" y="6100534"/>
            <a:chExt cx="2265214" cy="439998"/>
          </a:xfrm>
        </p:grpSpPr>
        <p:sp>
          <p:nvSpPr>
            <p:cNvPr id="370" name="Rectangle: Rounded Corners 369">
              <a:extLst>
                <a:ext uri="{FF2B5EF4-FFF2-40B4-BE49-F238E27FC236}">
                  <a16:creationId xmlns:a16="http://schemas.microsoft.com/office/drawing/2014/main" id="{B1155ED5-1A83-9086-2976-A7EDECFCAB4C}"/>
                </a:ext>
              </a:extLst>
            </p:cNvPr>
            <p:cNvSpPr/>
            <p:nvPr/>
          </p:nvSpPr>
          <p:spPr>
            <a:xfrm>
              <a:off x="2862931" y="6138081"/>
              <a:ext cx="2265214" cy="402451"/>
            </a:xfrm>
            <a:prstGeom prst="roundRect">
              <a:avLst>
                <a:gd name="adj" fmla="val 8547"/>
              </a:avLst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100" dirty="0"/>
            </a:p>
          </p:txBody>
        </p:sp>
        <p:sp>
          <p:nvSpPr>
            <p:cNvPr id="371" name="TextBox 370">
              <a:extLst>
                <a:ext uri="{FF2B5EF4-FFF2-40B4-BE49-F238E27FC236}">
                  <a16:creationId xmlns:a16="http://schemas.microsoft.com/office/drawing/2014/main" id="{BF71FFE0-4964-BB61-6837-90E67F51CEFA}"/>
                </a:ext>
              </a:extLst>
            </p:cNvPr>
            <p:cNvSpPr txBox="1"/>
            <p:nvPr/>
          </p:nvSpPr>
          <p:spPr>
            <a:xfrm>
              <a:off x="2904241" y="6100534"/>
              <a:ext cx="135738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Orchestrated using:</a:t>
              </a:r>
              <a:endParaRPr lang="en-ID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73" name="Picture 372">
              <a:extLst>
                <a:ext uri="{FF2B5EF4-FFF2-40B4-BE49-F238E27FC236}">
                  <a16:creationId xmlns:a16="http://schemas.microsoft.com/office/drawing/2014/main" id="{57B3C538-B953-F714-F6E6-7FE6F84B53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64928" y="6157832"/>
              <a:ext cx="740504" cy="286328"/>
            </a:xfrm>
            <a:prstGeom prst="rect">
              <a:avLst/>
            </a:prstGeom>
          </p:spPr>
        </p:pic>
      </p:grpSp>
      <p:sp>
        <p:nvSpPr>
          <p:cNvPr id="383" name="TextBox 382">
            <a:extLst>
              <a:ext uri="{FF2B5EF4-FFF2-40B4-BE49-F238E27FC236}">
                <a16:creationId xmlns:a16="http://schemas.microsoft.com/office/drawing/2014/main" id="{E852C4DF-B681-1A18-B49A-6AD4C69901B6}"/>
              </a:ext>
            </a:extLst>
          </p:cNvPr>
          <p:cNvSpPr txBox="1"/>
          <p:nvPr/>
        </p:nvSpPr>
        <p:spPr>
          <a:xfrm>
            <a:off x="9626605" y="5538285"/>
            <a:ext cx="267509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ata Processing</a:t>
            </a:r>
            <a:r>
              <a:rPr kumimoji="0" lang="en-US" sz="11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: ELT</a:t>
            </a: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imensional model</a:t>
            </a:r>
            <a:r>
              <a:rPr lang="en-US" sz="1100" dirty="0"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: Star Schema</a:t>
            </a: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Ingestion Method: </a:t>
            </a:r>
            <a:r>
              <a:rPr kumimoji="0" lang="en-US" sz="11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Batching D-1</a:t>
            </a:r>
          </a:p>
        </p:txBody>
      </p:sp>
      <p:pic>
        <p:nvPicPr>
          <p:cNvPr id="386" name="Picture 385">
            <a:extLst>
              <a:ext uri="{FF2B5EF4-FFF2-40B4-BE49-F238E27FC236}">
                <a16:creationId xmlns:a16="http://schemas.microsoft.com/office/drawing/2014/main" id="{FE8496CD-26C1-6023-9092-C9944C28E0B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2253" y="5589022"/>
            <a:ext cx="152430" cy="152430"/>
          </a:xfrm>
          <a:prstGeom prst="rect">
            <a:avLst/>
          </a:prstGeom>
        </p:spPr>
      </p:pic>
      <p:pic>
        <p:nvPicPr>
          <p:cNvPr id="387" name="Picture 386">
            <a:extLst>
              <a:ext uri="{FF2B5EF4-FFF2-40B4-BE49-F238E27FC236}">
                <a16:creationId xmlns:a16="http://schemas.microsoft.com/office/drawing/2014/main" id="{1486789F-2665-988C-C0DF-CFC40F7C710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2253" y="5760965"/>
            <a:ext cx="152430" cy="152430"/>
          </a:xfrm>
          <a:prstGeom prst="rect">
            <a:avLst/>
          </a:prstGeom>
        </p:spPr>
      </p:pic>
      <p:pic>
        <p:nvPicPr>
          <p:cNvPr id="388" name="Picture 387">
            <a:extLst>
              <a:ext uri="{FF2B5EF4-FFF2-40B4-BE49-F238E27FC236}">
                <a16:creationId xmlns:a16="http://schemas.microsoft.com/office/drawing/2014/main" id="{81F76AD3-A0D0-12FA-E3F7-FD2FE64CC3D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2253" y="5932908"/>
            <a:ext cx="152430" cy="152430"/>
          </a:xfrm>
          <a:prstGeom prst="rect">
            <a:avLst/>
          </a:prstGeom>
        </p:spPr>
      </p:pic>
      <p:grpSp>
        <p:nvGrpSpPr>
          <p:cNvPr id="415" name="Group 414">
            <a:extLst>
              <a:ext uri="{FF2B5EF4-FFF2-40B4-BE49-F238E27FC236}">
                <a16:creationId xmlns:a16="http://schemas.microsoft.com/office/drawing/2014/main" id="{76780B11-3C99-5DF0-AC44-D075358CC12F}"/>
              </a:ext>
            </a:extLst>
          </p:cNvPr>
          <p:cNvGrpSpPr/>
          <p:nvPr/>
        </p:nvGrpSpPr>
        <p:grpSpPr>
          <a:xfrm>
            <a:off x="322344" y="6175521"/>
            <a:ext cx="1386289" cy="547050"/>
            <a:chOff x="322344" y="6175521"/>
            <a:chExt cx="1386289" cy="547050"/>
          </a:xfrm>
        </p:grpSpPr>
        <p:cxnSp>
          <p:nvCxnSpPr>
            <p:cNvPr id="401" name="Straight Arrow Connector 400">
              <a:extLst>
                <a:ext uri="{FF2B5EF4-FFF2-40B4-BE49-F238E27FC236}">
                  <a16:creationId xmlns:a16="http://schemas.microsoft.com/office/drawing/2014/main" id="{4B5DA84D-01A0-5061-1DD3-11106251BB1F}"/>
                </a:ext>
              </a:extLst>
            </p:cNvPr>
            <p:cNvCxnSpPr>
              <a:cxnSpLocks/>
            </p:cNvCxnSpPr>
            <p:nvPr/>
          </p:nvCxnSpPr>
          <p:spPr>
            <a:xfrm>
              <a:off x="322344" y="6303408"/>
              <a:ext cx="546441" cy="0"/>
            </a:xfrm>
            <a:prstGeom prst="straightConnector1">
              <a:avLst/>
            </a:prstGeom>
            <a:ln>
              <a:solidFill>
                <a:srgbClr val="2552E3"/>
              </a:solidFill>
              <a:prstDash val="dash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96" name="Oval 395">
              <a:extLst>
                <a:ext uri="{FF2B5EF4-FFF2-40B4-BE49-F238E27FC236}">
                  <a16:creationId xmlns:a16="http://schemas.microsoft.com/office/drawing/2014/main" id="{F7AF2C66-BBCB-B3CB-31DF-4F8C2411CBA9}"/>
                </a:ext>
              </a:extLst>
            </p:cNvPr>
            <p:cNvSpPr/>
            <p:nvPr/>
          </p:nvSpPr>
          <p:spPr>
            <a:xfrm>
              <a:off x="478000" y="6201976"/>
              <a:ext cx="219389" cy="219389"/>
            </a:xfrm>
            <a:prstGeom prst="ellipse">
              <a:avLst/>
            </a:prstGeom>
            <a:gradFill>
              <a:gsLst>
                <a:gs pos="44000">
                  <a:srgbClr val="2552E2"/>
                </a:gs>
                <a:gs pos="100000">
                  <a:srgbClr val="061E3F"/>
                </a:gs>
              </a:gsLst>
              <a:path path="circle">
                <a:fillToRect r="100000" b="100000"/>
              </a:path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latin typeface="Georgia" panose="02040502050405020303" pitchFamily="18" charset="0"/>
                  <a:cs typeface="Arial" panose="020B0604020202020204" pitchFamily="34" charset="0"/>
                </a:rPr>
                <a:t>&gt;</a:t>
              </a:r>
              <a:endParaRPr lang="en-ID" sz="1400" dirty="0">
                <a:latin typeface="Georgia" panose="02040502050405020303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406" name="TextBox 405">
              <a:extLst>
                <a:ext uri="{FF2B5EF4-FFF2-40B4-BE49-F238E27FC236}">
                  <a16:creationId xmlns:a16="http://schemas.microsoft.com/office/drawing/2014/main" id="{1C60631A-F59F-B7AA-5BE2-5A4EDC4696AE}"/>
                </a:ext>
              </a:extLst>
            </p:cNvPr>
            <p:cNvSpPr txBox="1"/>
            <p:nvPr/>
          </p:nvSpPr>
          <p:spPr>
            <a:xfrm>
              <a:off x="755528" y="6175521"/>
              <a:ext cx="95310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Data flow</a:t>
              </a:r>
              <a:endParaRPr lang="en-ID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408" name="Straight Connector 68">
              <a:extLst>
                <a:ext uri="{FF2B5EF4-FFF2-40B4-BE49-F238E27FC236}">
                  <a16:creationId xmlns:a16="http://schemas.microsoft.com/office/drawing/2014/main" id="{FEE74313-80FA-1642-5944-872979B91C2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22344" y="6591766"/>
              <a:ext cx="513525" cy="0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14" name="TextBox 413">
              <a:extLst>
                <a:ext uri="{FF2B5EF4-FFF2-40B4-BE49-F238E27FC236}">
                  <a16:creationId xmlns:a16="http://schemas.microsoft.com/office/drawing/2014/main" id="{F20C22DF-52FF-2251-FC9F-181382967C30}"/>
                </a:ext>
              </a:extLst>
            </p:cNvPr>
            <p:cNvSpPr txBox="1"/>
            <p:nvPr/>
          </p:nvSpPr>
          <p:spPr>
            <a:xfrm>
              <a:off x="755528" y="6460961"/>
              <a:ext cx="95310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Tech Stack</a:t>
              </a:r>
              <a:endParaRPr lang="en-ID" sz="10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16" name="Picture 415">
            <a:extLst>
              <a:ext uri="{FF2B5EF4-FFF2-40B4-BE49-F238E27FC236}">
                <a16:creationId xmlns:a16="http://schemas.microsoft.com/office/drawing/2014/main" id="{5E9603AF-3308-EF07-1741-701E08444E0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2136" y="6214110"/>
            <a:ext cx="661017" cy="555255"/>
          </a:xfrm>
          <a:prstGeom prst="rect">
            <a:avLst/>
          </a:prstGeom>
        </p:spPr>
      </p:pic>
      <p:sp>
        <p:nvSpPr>
          <p:cNvPr id="417" name="TextBox 416">
            <a:extLst>
              <a:ext uri="{FF2B5EF4-FFF2-40B4-BE49-F238E27FC236}">
                <a16:creationId xmlns:a16="http://schemas.microsoft.com/office/drawing/2014/main" id="{80A87D9D-C3CB-175B-B816-91272806E8C1}"/>
              </a:ext>
            </a:extLst>
          </p:cNvPr>
          <p:cNvSpPr txBox="1"/>
          <p:nvPr/>
        </p:nvSpPr>
        <p:spPr>
          <a:xfrm>
            <a:off x="6920174" y="6260906"/>
            <a:ext cx="14995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Apps containerized in:</a:t>
            </a:r>
          </a:p>
        </p:txBody>
      </p:sp>
      <p:sp>
        <p:nvSpPr>
          <p:cNvPr id="16" name="Star: 5 Points 15">
            <a:extLst>
              <a:ext uri="{FF2B5EF4-FFF2-40B4-BE49-F238E27FC236}">
                <a16:creationId xmlns:a16="http://schemas.microsoft.com/office/drawing/2014/main" id="{76D65116-F9CE-FBE1-F44B-45346DA9F70D}"/>
              </a:ext>
            </a:extLst>
          </p:cNvPr>
          <p:cNvSpPr/>
          <p:nvPr/>
        </p:nvSpPr>
        <p:spPr>
          <a:xfrm>
            <a:off x="8775373" y="2059810"/>
            <a:ext cx="476361" cy="476361"/>
          </a:xfrm>
          <a:prstGeom prst="star5">
            <a:avLst/>
          </a:prstGeom>
          <a:solidFill>
            <a:srgbClr val="FFFF00">
              <a:alpha val="40000"/>
            </a:srgbClr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6DD6AB8-70B1-8F6F-D06F-4F26D15C1853}"/>
              </a:ext>
            </a:extLst>
          </p:cNvPr>
          <p:cNvSpPr txBox="1"/>
          <p:nvPr/>
        </p:nvSpPr>
        <p:spPr>
          <a:xfrm>
            <a:off x="8726701" y="2503122"/>
            <a:ext cx="148207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Star schema </a:t>
            </a: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model</a:t>
            </a:r>
            <a:endParaRPr kumimoji="0" lang="en-US" sz="1000" i="1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86839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61CD77-8B10-4435-A77A-19FA0D3501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DD382016-9D88-E499-7FDA-DDDDC22AE2AB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AC164B5-DB6E-B921-E94B-F21641399E74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5CF20015-14D9-835D-9917-BE27AF291D2F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DF399C3B-4E69-09EC-189C-3F24CE7ACC21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evelopment Cycle and Process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30155AA-1DA6-4F6B-1383-1EBD15D2CC25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6CB54423-23CD-FA58-671C-D3DF15EA2D26}"/>
              </a:ext>
            </a:extLst>
          </p:cNvPr>
          <p:cNvSpPr txBox="1"/>
          <p:nvPr/>
        </p:nvSpPr>
        <p:spPr>
          <a:xfrm>
            <a:off x="206943" y="478058"/>
            <a:ext cx="119850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latin typeface="Georgia" panose="02040502050405020303" pitchFamily="18" charset="0"/>
                <a:ea typeface="Tahoma" panose="020B0604030504040204" pitchFamily="34" charset="0"/>
              </a:rPr>
              <a:t>2</a:t>
            </a:r>
            <a:r>
              <a:rPr kumimoji="0" lang="en-US" sz="2400" b="1" i="0" strike="noStrike" kern="1200" cap="none" spc="0" normalizeH="0" baseline="30000" noProof="0" dirty="0" err="1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nd</a:t>
            </a: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 project deliverable: Automation logic flow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DCB482F-899F-9001-8546-C7F08C57B9DC}"/>
              </a:ext>
            </a:extLst>
          </p:cNvPr>
          <p:cNvCxnSpPr>
            <a:cxnSpLocks/>
          </p:cNvCxnSpPr>
          <p:nvPr/>
        </p:nvCxnSpPr>
        <p:spPr>
          <a:xfrm>
            <a:off x="300998" y="939723"/>
            <a:ext cx="11450129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3010AA8-8179-B6B1-1950-837EF4021628}"/>
              </a:ext>
            </a:extLst>
          </p:cNvPr>
          <p:cNvSpPr/>
          <p:nvPr/>
        </p:nvSpPr>
        <p:spPr>
          <a:xfrm rot="16200000">
            <a:off x="5857183" y="-4503912"/>
            <a:ext cx="337762" cy="11450131"/>
          </a:xfrm>
          <a:prstGeom prst="roundRect">
            <a:avLst>
              <a:gd name="adj" fmla="val 7509"/>
            </a:avLst>
          </a:prstGeom>
          <a:gradFill flip="none" rotWithShape="1">
            <a:gsLst>
              <a:gs pos="0">
                <a:srgbClr val="051C39"/>
              </a:gs>
              <a:gs pos="100000">
                <a:srgbClr val="2552E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4946A2C-988F-526C-F753-98B03DDC89E8}"/>
              </a:ext>
            </a:extLst>
          </p:cNvPr>
          <p:cNvSpPr txBox="1"/>
          <p:nvPr/>
        </p:nvSpPr>
        <p:spPr>
          <a:xfrm>
            <a:off x="287907" y="1047566"/>
            <a:ext cx="11272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G_NAME: 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G1_load_to_postgre.py </a:t>
            </a: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OBJECTIVE: 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te data and load to PostgreSQL relational database</a:t>
            </a:r>
            <a:endParaRPr lang="en-ID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88B5031-5FC0-CFB7-DEEF-5A32B3313F5C}"/>
              </a:ext>
            </a:extLst>
          </p:cNvPr>
          <p:cNvSpPr/>
          <p:nvPr/>
        </p:nvSpPr>
        <p:spPr>
          <a:xfrm>
            <a:off x="467944" y="2003927"/>
            <a:ext cx="1129527" cy="491795"/>
          </a:xfrm>
          <a:prstGeom prst="ellipse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</a:t>
            </a:r>
            <a:endParaRPr lang="en-ID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876F7107-3474-BE8E-A89C-5934EC19E359}"/>
              </a:ext>
            </a:extLst>
          </p:cNvPr>
          <p:cNvSpPr/>
          <p:nvPr/>
        </p:nvSpPr>
        <p:spPr>
          <a:xfrm>
            <a:off x="246231" y="1457363"/>
            <a:ext cx="3846606" cy="337764"/>
          </a:xfrm>
          <a:prstGeom prst="roundRect">
            <a:avLst>
              <a:gd name="adj" fmla="val 7509"/>
            </a:avLst>
          </a:prstGeom>
          <a:noFill/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 1: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sure table existence in PostgreSQL</a:t>
            </a:r>
            <a:endParaRPr lang="en-ID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9E06E5D3-FD6C-537C-87FE-38473D7D8D55}"/>
              </a:ext>
            </a:extLst>
          </p:cNvPr>
          <p:cNvSpPr/>
          <p:nvPr/>
        </p:nvSpPr>
        <p:spPr>
          <a:xfrm>
            <a:off x="5989931" y="1457363"/>
            <a:ext cx="4328458" cy="337764"/>
          </a:xfrm>
          <a:prstGeom prst="roundRect">
            <a:avLst>
              <a:gd name="adj" fmla="val 7509"/>
            </a:avLst>
          </a:prstGeom>
          <a:noFill/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 2: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te data and load to PostgreSQL/DB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ID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1E91B85-3112-6862-5AEB-5B0B2C6FF32F}"/>
              </a:ext>
            </a:extLst>
          </p:cNvPr>
          <p:cNvCxnSpPr>
            <a:cxnSpLocks/>
          </p:cNvCxnSpPr>
          <p:nvPr/>
        </p:nvCxnSpPr>
        <p:spPr>
          <a:xfrm>
            <a:off x="6164457" y="1801366"/>
            <a:ext cx="538664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45018BA9-D91B-C753-22CA-1C33DB39D610}"/>
              </a:ext>
            </a:extLst>
          </p:cNvPr>
          <p:cNvSpPr/>
          <p:nvPr/>
        </p:nvSpPr>
        <p:spPr>
          <a:xfrm>
            <a:off x="2131746" y="2003933"/>
            <a:ext cx="1262095" cy="49178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ck table existence</a:t>
            </a:r>
            <a:endParaRPr lang="en-ID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Diamond 29">
            <a:extLst>
              <a:ext uri="{FF2B5EF4-FFF2-40B4-BE49-F238E27FC236}">
                <a16:creationId xmlns:a16="http://schemas.microsoft.com/office/drawing/2014/main" id="{0C77FD9A-83E8-2B44-4378-DABF2B0AFA55}"/>
              </a:ext>
            </a:extLst>
          </p:cNvPr>
          <p:cNvSpPr/>
          <p:nvPr/>
        </p:nvSpPr>
        <p:spPr>
          <a:xfrm>
            <a:off x="3852509" y="1913028"/>
            <a:ext cx="1739900" cy="673593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le exist?</a:t>
            </a:r>
            <a:endParaRPr lang="en-ID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0DEAEDBE-B7CC-DAA3-9B41-5D1D7542E200}"/>
              </a:ext>
            </a:extLst>
          </p:cNvPr>
          <p:cNvSpPr/>
          <p:nvPr/>
        </p:nvSpPr>
        <p:spPr>
          <a:xfrm>
            <a:off x="4091412" y="3205875"/>
            <a:ext cx="1262095" cy="655088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ok for </a:t>
            </a: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ql</a:t>
            </a: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e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table creation</a:t>
            </a:r>
            <a:endParaRPr lang="en-ID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Diamond 31">
            <a:extLst>
              <a:ext uri="{FF2B5EF4-FFF2-40B4-BE49-F238E27FC236}">
                <a16:creationId xmlns:a16="http://schemas.microsoft.com/office/drawing/2014/main" id="{5EA3D951-B983-A2C7-DF6C-15C625CC57EA}"/>
              </a:ext>
            </a:extLst>
          </p:cNvPr>
          <p:cNvSpPr/>
          <p:nvPr/>
        </p:nvSpPr>
        <p:spPr>
          <a:xfrm>
            <a:off x="1916537" y="3196623"/>
            <a:ext cx="1739900" cy="673593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ql</a:t>
            </a: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e 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und?</a:t>
            </a:r>
            <a:endParaRPr lang="en-ID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1900460-6533-DB53-6726-F07B36029BD8}"/>
              </a:ext>
            </a:extLst>
          </p:cNvPr>
          <p:cNvSpPr/>
          <p:nvPr/>
        </p:nvSpPr>
        <p:spPr>
          <a:xfrm>
            <a:off x="2155439" y="4401646"/>
            <a:ext cx="1262095" cy="49178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cute </a:t>
            </a: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ql</a:t>
            </a: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e</a:t>
            </a:r>
            <a:endParaRPr lang="en-ID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Diamond 33">
            <a:extLst>
              <a:ext uri="{FF2B5EF4-FFF2-40B4-BE49-F238E27FC236}">
                <a16:creationId xmlns:a16="http://schemas.microsoft.com/office/drawing/2014/main" id="{83250563-4C5C-0E05-E82D-E3E39C5EAD4B}"/>
              </a:ext>
            </a:extLst>
          </p:cNvPr>
          <p:cNvSpPr/>
          <p:nvPr/>
        </p:nvSpPr>
        <p:spPr>
          <a:xfrm>
            <a:off x="1916536" y="5112179"/>
            <a:ext cx="1739900" cy="673593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cute error?</a:t>
            </a:r>
            <a:endParaRPr lang="en-ID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06E6F617-01D3-C7A2-F7C4-4903D80ABB78}"/>
              </a:ext>
            </a:extLst>
          </p:cNvPr>
          <p:cNvCxnSpPr>
            <a:cxnSpLocks/>
          </p:cNvCxnSpPr>
          <p:nvPr/>
        </p:nvCxnSpPr>
        <p:spPr>
          <a:xfrm>
            <a:off x="3393841" y="2249824"/>
            <a:ext cx="458668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AA235574-ECC7-6720-944D-AF4730FBEAA3}"/>
              </a:ext>
            </a:extLst>
          </p:cNvPr>
          <p:cNvCxnSpPr>
            <a:cxnSpLocks/>
            <a:stCxn id="30" idx="2"/>
            <a:endCxn id="31" idx="0"/>
          </p:cNvCxnSpPr>
          <p:nvPr/>
        </p:nvCxnSpPr>
        <p:spPr>
          <a:xfrm>
            <a:off x="4722459" y="2586621"/>
            <a:ext cx="1" cy="619254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75969BFC-B480-C44D-00B2-C4EA66C00AF2}"/>
              </a:ext>
            </a:extLst>
          </p:cNvPr>
          <p:cNvCxnSpPr>
            <a:cxnSpLocks/>
          </p:cNvCxnSpPr>
          <p:nvPr/>
        </p:nvCxnSpPr>
        <p:spPr>
          <a:xfrm flipH="1">
            <a:off x="3656437" y="3533419"/>
            <a:ext cx="434975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8626AC69-0149-B0EF-83B4-AB92E11F3CC3}"/>
              </a:ext>
            </a:extLst>
          </p:cNvPr>
          <p:cNvCxnSpPr>
            <a:cxnSpLocks/>
            <a:stCxn id="32" idx="2"/>
            <a:endCxn id="327" idx="0"/>
          </p:cNvCxnSpPr>
          <p:nvPr/>
        </p:nvCxnSpPr>
        <p:spPr>
          <a:xfrm>
            <a:off x="2786487" y="3870216"/>
            <a:ext cx="0" cy="116173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47FD1A2B-9D26-CC96-BEA0-BF108CE5C908}"/>
              </a:ext>
            </a:extLst>
          </p:cNvPr>
          <p:cNvCxnSpPr>
            <a:cxnSpLocks/>
            <a:stCxn id="33" idx="2"/>
            <a:endCxn id="34" idx="0"/>
          </p:cNvCxnSpPr>
          <p:nvPr/>
        </p:nvCxnSpPr>
        <p:spPr>
          <a:xfrm flipH="1">
            <a:off x="2786486" y="4893428"/>
            <a:ext cx="1" cy="21875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3C8C04AE-07EC-9460-D110-1BC216CB163E}"/>
              </a:ext>
            </a:extLst>
          </p:cNvPr>
          <p:cNvSpPr/>
          <p:nvPr/>
        </p:nvSpPr>
        <p:spPr>
          <a:xfrm>
            <a:off x="4711660" y="5203084"/>
            <a:ext cx="1262095" cy="491782"/>
          </a:xfrm>
          <a:prstGeom prst="roundRect">
            <a:avLst/>
          </a:prstGeom>
          <a:solidFill>
            <a:srgbClr val="EEEEEE"/>
          </a:solidFill>
          <a:ln>
            <a:solidFill>
              <a:srgbClr val="2552E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table in DB</a:t>
            </a:r>
            <a:endParaRPr lang="en-ID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4097A99F-2E04-620C-4263-33411AABC868}"/>
              </a:ext>
            </a:extLst>
          </p:cNvPr>
          <p:cNvCxnSpPr>
            <a:cxnSpLocks/>
            <a:stCxn id="34" idx="3"/>
            <a:endCxn id="52" idx="1"/>
          </p:cNvCxnSpPr>
          <p:nvPr/>
        </p:nvCxnSpPr>
        <p:spPr>
          <a:xfrm flipV="1">
            <a:off x="3656436" y="5448975"/>
            <a:ext cx="1055224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D29BDED1-11F1-B9FB-FEED-8A926E8721B9}"/>
              </a:ext>
            </a:extLst>
          </p:cNvPr>
          <p:cNvGrpSpPr/>
          <p:nvPr/>
        </p:nvGrpSpPr>
        <p:grpSpPr>
          <a:xfrm>
            <a:off x="584229" y="5257207"/>
            <a:ext cx="596172" cy="383537"/>
            <a:chOff x="1834931" y="5649539"/>
            <a:chExt cx="596172" cy="383537"/>
          </a:xfrm>
        </p:grpSpPr>
        <p:sp>
          <p:nvSpPr>
            <p:cNvPr id="111" name="Rectangle: Rounded Corners 110">
              <a:extLst>
                <a:ext uri="{FF2B5EF4-FFF2-40B4-BE49-F238E27FC236}">
                  <a16:creationId xmlns:a16="http://schemas.microsoft.com/office/drawing/2014/main" id="{15A950CE-52A5-CE6B-462D-5E8EDCB602C9}"/>
                </a:ext>
              </a:extLst>
            </p:cNvPr>
            <p:cNvSpPr/>
            <p:nvPr/>
          </p:nvSpPr>
          <p:spPr>
            <a:xfrm>
              <a:off x="1834931" y="5649539"/>
              <a:ext cx="596172" cy="378371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18" name="Picture 117">
              <a:extLst>
                <a:ext uri="{FF2B5EF4-FFF2-40B4-BE49-F238E27FC236}">
                  <a16:creationId xmlns:a16="http://schemas.microsoft.com/office/drawing/2014/main" id="{09A5F303-F35E-1F8C-4032-84865A89DA3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5265" y="5654705"/>
              <a:ext cx="504107" cy="378371"/>
            </a:xfrm>
            <a:prstGeom prst="rect">
              <a:avLst/>
            </a:prstGeom>
          </p:spPr>
        </p:pic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3B53F9EF-7BDA-26B4-5D74-54259105849D}"/>
              </a:ext>
            </a:extLst>
          </p:cNvPr>
          <p:cNvGrpSpPr/>
          <p:nvPr/>
        </p:nvGrpSpPr>
        <p:grpSpPr>
          <a:xfrm>
            <a:off x="584229" y="3341651"/>
            <a:ext cx="596172" cy="383537"/>
            <a:chOff x="1834931" y="5649539"/>
            <a:chExt cx="596172" cy="383537"/>
          </a:xfrm>
        </p:grpSpPr>
        <p:sp>
          <p:nvSpPr>
            <p:cNvPr id="122" name="Rectangle: Rounded Corners 121">
              <a:extLst>
                <a:ext uri="{FF2B5EF4-FFF2-40B4-BE49-F238E27FC236}">
                  <a16:creationId xmlns:a16="http://schemas.microsoft.com/office/drawing/2014/main" id="{B4813C56-F6A9-2450-41DB-2D4018AD4BCB}"/>
                </a:ext>
              </a:extLst>
            </p:cNvPr>
            <p:cNvSpPr/>
            <p:nvPr/>
          </p:nvSpPr>
          <p:spPr>
            <a:xfrm>
              <a:off x="1834931" y="5649539"/>
              <a:ext cx="596172" cy="378371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23" name="Picture 122">
              <a:extLst>
                <a:ext uri="{FF2B5EF4-FFF2-40B4-BE49-F238E27FC236}">
                  <a16:creationId xmlns:a16="http://schemas.microsoft.com/office/drawing/2014/main" id="{C45B9182-D4DD-D452-F137-0B6B8E9750A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5265" y="5654705"/>
              <a:ext cx="504107" cy="378371"/>
            </a:xfrm>
            <a:prstGeom prst="rect">
              <a:avLst/>
            </a:prstGeom>
          </p:spPr>
        </p:pic>
      </p:grpSp>
      <p:sp>
        <p:nvSpPr>
          <p:cNvPr id="125" name="Oval 124">
            <a:extLst>
              <a:ext uri="{FF2B5EF4-FFF2-40B4-BE49-F238E27FC236}">
                <a16:creationId xmlns:a16="http://schemas.microsoft.com/office/drawing/2014/main" id="{F1D1F616-BD10-E956-A0CC-B0641F6DAA9D}"/>
              </a:ext>
            </a:extLst>
          </p:cNvPr>
          <p:cNvSpPr/>
          <p:nvPr/>
        </p:nvSpPr>
        <p:spPr>
          <a:xfrm>
            <a:off x="4578982" y="2724122"/>
            <a:ext cx="286953" cy="286953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3" name="Straight Arrow Connector 142">
            <a:extLst>
              <a:ext uri="{FF2B5EF4-FFF2-40B4-BE49-F238E27FC236}">
                <a16:creationId xmlns:a16="http://schemas.microsoft.com/office/drawing/2014/main" id="{F527D760-0457-C5A5-7EF5-255EF266F5A2}"/>
              </a:ext>
            </a:extLst>
          </p:cNvPr>
          <p:cNvCxnSpPr>
            <a:cxnSpLocks/>
            <a:stCxn id="16" idx="6"/>
            <a:endCxn id="27" idx="1"/>
          </p:cNvCxnSpPr>
          <p:nvPr/>
        </p:nvCxnSpPr>
        <p:spPr>
          <a:xfrm flipV="1">
            <a:off x="1597471" y="2249824"/>
            <a:ext cx="534275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95854B2A-D2B1-CF6C-9780-C5410A9CC423}"/>
              </a:ext>
            </a:extLst>
          </p:cNvPr>
          <p:cNvCxnSpPr>
            <a:cxnSpLocks/>
          </p:cNvCxnSpPr>
          <p:nvPr/>
        </p:nvCxnSpPr>
        <p:spPr>
          <a:xfrm>
            <a:off x="354375" y="1801366"/>
            <a:ext cx="574162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Arrow Connector 180">
            <a:extLst>
              <a:ext uri="{FF2B5EF4-FFF2-40B4-BE49-F238E27FC236}">
                <a16:creationId xmlns:a16="http://schemas.microsoft.com/office/drawing/2014/main" id="{F871B599-9A2C-E634-1876-61D4049D2AB2}"/>
              </a:ext>
            </a:extLst>
          </p:cNvPr>
          <p:cNvCxnSpPr>
            <a:cxnSpLocks/>
            <a:stCxn id="32" idx="1"/>
            <a:endCxn id="122" idx="3"/>
          </p:cNvCxnSpPr>
          <p:nvPr/>
        </p:nvCxnSpPr>
        <p:spPr>
          <a:xfrm flipH="1" flipV="1">
            <a:off x="1180401" y="3530837"/>
            <a:ext cx="736136" cy="2583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05" name="Straight Arrow Connector 204">
            <a:extLst>
              <a:ext uri="{FF2B5EF4-FFF2-40B4-BE49-F238E27FC236}">
                <a16:creationId xmlns:a16="http://schemas.microsoft.com/office/drawing/2014/main" id="{C317E4A3-5B2D-8BAF-ACFD-24759EEAC56A}"/>
              </a:ext>
            </a:extLst>
          </p:cNvPr>
          <p:cNvCxnSpPr>
            <a:cxnSpLocks/>
            <a:stCxn id="34" idx="1"/>
            <a:endCxn id="111" idx="3"/>
          </p:cNvCxnSpPr>
          <p:nvPr/>
        </p:nvCxnSpPr>
        <p:spPr>
          <a:xfrm flipH="1" flipV="1">
            <a:off x="1180401" y="5446393"/>
            <a:ext cx="736135" cy="2583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47" name="Oval 246">
            <a:extLst>
              <a:ext uri="{FF2B5EF4-FFF2-40B4-BE49-F238E27FC236}">
                <a16:creationId xmlns:a16="http://schemas.microsoft.com/office/drawing/2014/main" id="{F8115464-2DB6-19B5-CA71-C8B31804FCC4}"/>
              </a:ext>
            </a:extLst>
          </p:cNvPr>
          <p:cNvSpPr/>
          <p:nvPr/>
        </p:nvSpPr>
        <p:spPr>
          <a:xfrm>
            <a:off x="3974480" y="5305499"/>
            <a:ext cx="286953" cy="286953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3" name="Rectangle: Rounded Corners 282">
            <a:extLst>
              <a:ext uri="{FF2B5EF4-FFF2-40B4-BE49-F238E27FC236}">
                <a16:creationId xmlns:a16="http://schemas.microsoft.com/office/drawing/2014/main" id="{8A4445BE-B777-7DEF-39BF-ECEE7969A725}"/>
              </a:ext>
            </a:extLst>
          </p:cNvPr>
          <p:cNvSpPr/>
          <p:nvPr/>
        </p:nvSpPr>
        <p:spPr>
          <a:xfrm>
            <a:off x="6785423" y="1922280"/>
            <a:ext cx="1359888" cy="655088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te data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er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84" name="Straight Arrow Connector 283">
            <a:extLst>
              <a:ext uri="{FF2B5EF4-FFF2-40B4-BE49-F238E27FC236}">
                <a16:creationId xmlns:a16="http://schemas.microsoft.com/office/drawing/2014/main" id="{13DEE064-212C-02FF-A85C-5E2F795C2D03}"/>
              </a:ext>
            </a:extLst>
          </p:cNvPr>
          <p:cNvCxnSpPr>
            <a:cxnSpLocks/>
            <a:stCxn id="30" idx="3"/>
            <a:endCxn id="283" idx="1"/>
          </p:cNvCxnSpPr>
          <p:nvPr/>
        </p:nvCxnSpPr>
        <p:spPr>
          <a:xfrm flipV="1">
            <a:off x="5592409" y="2249824"/>
            <a:ext cx="1193014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91" name="Rectangle: Rounded Corners 290">
            <a:extLst>
              <a:ext uri="{FF2B5EF4-FFF2-40B4-BE49-F238E27FC236}">
                <a16:creationId xmlns:a16="http://schemas.microsoft.com/office/drawing/2014/main" id="{DFA8EDCA-876D-59E5-98C1-9ABAA9C532BF}"/>
              </a:ext>
            </a:extLst>
          </p:cNvPr>
          <p:cNvSpPr/>
          <p:nvPr/>
        </p:nvSpPr>
        <p:spPr>
          <a:xfrm>
            <a:off x="8590001" y="2003933"/>
            <a:ext cx="1262095" cy="49178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tch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er_id</a:t>
            </a:r>
            <a:endParaRPr lang="en-ID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4" name="Rectangle: Rounded Corners 293">
            <a:extLst>
              <a:ext uri="{FF2B5EF4-FFF2-40B4-BE49-F238E27FC236}">
                <a16:creationId xmlns:a16="http://schemas.microsoft.com/office/drawing/2014/main" id="{2F36B534-D31D-D8C2-A3A0-1794609385C0}"/>
              </a:ext>
            </a:extLst>
          </p:cNvPr>
          <p:cNvSpPr/>
          <p:nvPr/>
        </p:nvSpPr>
        <p:spPr>
          <a:xfrm>
            <a:off x="10191214" y="1922280"/>
            <a:ext cx="1359888" cy="655088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te data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le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5" name="Rectangle: Rounded Corners 294">
            <a:extLst>
              <a:ext uri="{FF2B5EF4-FFF2-40B4-BE49-F238E27FC236}">
                <a16:creationId xmlns:a16="http://schemas.microsoft.com/office/drawing/2014/main" id="{3322E5B4-4F36-BADB-BC32-E57015AA04DE}"/>
              </a:ext>
            </a:extLst>
          </p:cNvPr>
          <p:cNvSpPr/>
          <p:nvPr/>
        </p:nvSpPr>
        <p:spPr>
          <a:xfrm>
            <a:off x="10240110" y="2937217"/>
            <a:ext cx="1262095" cy="596201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tch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er_id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_id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6" name="Rectangle: Rounded Corners 295">
            <a:extLst>
              <a:ext uri="{FF2B5EF4-FFF2-40B4-BE49-F238E27FC236}">
                <a16:creationId xmlns:a16="http://schemas.microsoft.com/office/drawing/2014/main" id="{23301AEC-34F8-EC65-649B-1D2C4EEBB445}"/>
              </a:ext>
            </a:extLst>
          </p:cNvPr>
          <p:cNvSpPr/>
          <p:nvPr/>
        </p:nvSpPr>
        <p:spPr>
          <a:xfrm>
            <a:off x="8590001" y="2907773"/>
            <a:ext cx="1359888" cy="655088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te data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de</a:t>
            </a:r>
          </a:p>
        </p:txBody>
      </p:sp>
      <p:cxnSp>
        <p:nvCxnSpPr>
          <p:cNvPr id="297" name="Straight Arrow Connector 296">
            <a:extLst>
              <a:ext uri="{FF2B5EF4-FFF2-40B4-BE49-F238E27FC236}">
                <a16:creationId xmlns:a16="http://schemas.microsoft.com/office/drawing/2014/main" id="{FF6D7D66-4104-8AAA-CE0E-A502F35DE90D}"/>
              </a:ext>
            </a:extLst>
          </p:cNvPr>
          <p:cNvCxnSpPr>
            <a:cxnSpLocks/>
            <a:stCxn id="283" idx="3"/>
            <a:endCxn id="291" idx="1"/>
          </p:cNvCxnSpPr>
          <p:nvPr/>
        </p:nvCxnSpPr>
        <p:spPr>
          <a:xfrm>
            <a:off x="8145311" y="2249824"/>
            <a:ext cx="444690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00" name="Straight Arrow Connector 299">
            <a:extLst>
              <a:ext uri="{FF2B5EF4-FFF2-40B4-BE49-F238E27FC236}">
                <a16:creationId xmlns:a16="http://schemas.microsoft.com/office/drawing/2014/main" id="{8328AC82-88D6-8F88-A6E7-54A22BF1D557}"/>
              </a:ext>
            </a:extLst>
          </p:cNvPr>
          <p:cNvCxnSpPr>
            <a:cxnSpLocks/>
            <a:stCxn id="291" idx="3"/>
            <a:endCxn id="294" idx="1"/>
          </p:cNvCxnSpPr>
          <p:nvPr/>
        </p:nvCxnSpPr>
        <p:spPr>
          <a:xfrm>
            <a:off x="9852096" y="2249824"/>
            <a:ext cx="339118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03" name="Straight Arrow Connector 302">
            <a:extLst>
              <a:ext uri="{FF2B5EF4-FFF2-40B4-BE49-F238E27FC236}">
                <a16:creationId xmlns:a16="http://schemas.microsoft.com/office/drawing/2014/main" id="{BBCCDD63-6F2E-CE8B-80A6-0760E7547CF6}"/>
              </a:ext>
            </a:extLst>
          </p:cNvPr>
          <p:cNvCxnSpPr>
            <a:cxnSpLocks/>
          </p:cNvCxnSpPr>
          <p:nvPr/>
        </p:nvCxnSpPr>
        <p:spPr>
          <a:xfrm>
            <a:off x="10912390" y="2577368"/>
            <a:ext cx="0" cy="359849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07" name="Straight Arrow Connector 306">
            <a:extLst>
              <a:ext uri="{FF2B5EF4-FFF2-40B4-BE49-F238E27FC236}">
                <a16:creationId xmlns:a16="http://schemas.microsoft.com/office/drawing/2014/main" id="{B8D11767-AF67-3D47-5B33-DB11334FE2B7}"/>
              </a:ext>
            </a:extLst>
          </p:cNvPr>
          <p:cNvCxnSpPr>
            <a:cxnSpLocks/>
            <a:stCxn id="295" idx="1"/>
            <a:endCxn id="296" idx="3"/>
          </p:cNvCxnSpPr>
          <p:nvPr/>
        </p:nvCxnSpPr>
        <p:spPr>
          <a:xfrm flipH="1" flipV="1">
            <a:off x="9949889" y="3235317"/>
            <a:ext cx="290221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10" name="Straight Arrow Connector 309">
            <a:extLst>
              <a:ext uri="{FF2B5EF4-FFF2-40B4-BE49-F238E27FC236}">
                <a16:creationId xmlns:a16="http://schemas.microsoft.com/office/drawing/2014/main" id="{1F341167-61CB-F07E-0303-C93A21A104B5}"/>
              </a:ext>
            </a:extLst>
          </p:cNvPr>
          <p:cNvCxnSpPr>
            <a:cxnSpLocks/>
            <a:stCxn id="296" idx="1"/>
            <a:endCxn id="314" idx="0"/>
          </p:cNvCxnSpPr>
          <p:nvPr/>
        </p:nvCxnSpPr>
        <p:spPr>
          <a:xfrm rot="10800000" flipV="1">
            <a:off x="7572359" y="3235317"/>
            <a:ext cx="1017643" cy="567034"/>
          </a:xfrm>
          <a:prstGeom prst="bentConnector2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14" name="Rectangle: Rounded Corners 313">
            <a:extLst>
              <a:ext uri="{FF2B5EF4-FFF2-40B4-BE49-F238E27FC236}">
                <a16:creationId xmlns:a16="http://schemas.microsoft.com/office/drawing/2014/main" id="{FA5FF300-9B86-DAE8-434B-811B5CB40235}"/>
              </a:ext>
            </a:extLst>
          </p:cNvPr>
          <p:cNvSpPr/>
          <p:nvPr/>
        </p:nvSpPr>
        <p:spPr>
          <a:xfrm>
            <a:off x="6785423" y="3802351"/>
            <a:ext cx="1573869" cy="893474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data to DB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de</a:t>
            </a:r>
          </a:p>
        </p:txBody>
      </p:sp>
      <p:sp>
        <p:nvSpPr>
          <p:cNvPr id="322" name="Diamond 321">
            <a:extLst>
              <a:ext uri="{FF2B5EF4-FFF2-40B4-BE49-F238E27FC236}">
                <a16:creationId xmlns:a16="http://schemas.microsoft.com/office/drawing/2014/main" id="{038B8C04-CE86-C2D7-3D18-885CBF9994E5}"/>
              </a:ext>
            </a:extLst>
          </p:cNvPr>
          <p:cNvSpPr/>
          <p:nvPr/>
        </p:nvSpPr>
        <p:spPr>
          <a:xfrm>
            <a:off x="8817618" y="3921102"/>
            <a:ext cx="1739900" cy="673593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error?</a:t>
            </a:r>
            <a:endParaRPr lang="en-ID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24" name="Group 323">
            <a:extLst>
              <a:ext uri="{FF2B5EF4-FFF2-40B4-BE49-F238E27FC236}">
                <a16:creationId xmlns:a16="http://schemas.microsoft.com/office/drawing/2014/main" id="{1C7540A5-2CA0-0DDB-59B5-A22B5E1DD824}"/>
              </a:ext>
            </a:extLst>
          </p:cNvPr>
          <p:cNvGrpSpPr/>
          <p:nvPr/>
        </p:nvGrpSpPr>
        <p:grpSpPr>
          <a:xfrm>
            <a:off x="11160485" y="4066129"/>
            <a:ext cx="596172" cy="383537"/>
            <a:chOff x="1834931" y="5649539"/>
            <a:chExt cx="596172" cy="383537"/>
          </a:xfrm>
        </p:grpSpPr>
        <p:sp>
          <p:nvSpPr>
            <p:cNvPr id="325" name="Rectangle: Rounded Corners 324">
              <a:extLst>
                <a:ext uri="{FF2B5EF4-FFF2-40B4-BE49-F238E27FC236}">
                  <a16:creationId xmlns:a16="http://schemas.microsoft.com/office/drawing/2014/main" id="{FC0233C3-3CA2-0EAC-78F5-F410BBC423EC}"/>
                </a:ext>
              </a:extLst>
            </p:cNvPr>
            <p:cNvSpPr/>
            <p:nvPr/>
          </p:nvSpPr>
          <p:spPr>
            <a:xfrm>
              <a:off x="1834931" y="5649539"/>
              <a:ext cx="596172" cy="378371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6" name="Picture 325">
              <a:extLst>
                <a:ext uri="{FF2B5EF4-FFF2-40B4-BE49-F238E27FC236}">
                  <a16:creationId xmlns:a16="http://schemas.microsoft.com/office/drawing/2014/main" id="{5D661FE8-56D2-EE58-F240-BADCAAD68BE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5265" y="5654705"/>
              <a:ext cx="504107" cy="378371"/>
            </a:xfrm>
            <a:prstGeom prst="rect">
              <a:avLst/>
            </a:prstGeom>
          </p:spPr>
        </p:pic>
      </p:grpSp>
      <p:sp>
        <p:nvSpPr>
          <p:cNvPr id="327" name="Oval 326">
            <a:extLst>
              <a:ext uri="{FF2B5EF4-FFF2-40B4-BE49-F238E27FC236}">
                <a16:creationId xmlns:a16="http://schemas.microsoft.com/office/drawing/2014/main" id="{8906A03E-314B-C16C-4A1B-D038A841E792}"/>
              </a:ext>
            </a:extLst>
          </p:cNvPr>
          <p:cNvSpPr/>
          <p:nvPr/>
        </p:nvSpPr>
        <p:spPr>
          <a:xfrm>
            <a:off x="2643010" y="3986389"/>
            <a:ext cx="286953" cy="28695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29" name="Straight Arrow Connector 328">
            <a:extLst>
              <a:ext uri="{FF2B5EF4-FFF2-40B4-BE49-F238E27FC236}">
                <a16:creationId xmlns:a16="http://schemas.microsoft.com/office/drawing/2014/main" id="{F136E7D1-EC8C-DC08-AC0A-B77B1B05A0CF}"/>
              </a:ext>
            </a:extLst>
          </p:cNvPr>
          <p:cNvCxnSpPr>
            <a:cxnSpLocks/>
            <a:stCxn id="327" idx="4"/>
            <a:endCxn id="33" idx="0"/>
          </p:cNvCxnSpPr>
          <p:nvPr/>
        </p:nvCxnSpPr>
        <p:spPr>
          <a:xfrm>
            <a:off x="2786487" y="4273342"/>
            <a:ext cx="0" cy="128304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42" name="Oval 341">
            <a:extLst>
              <a:ext uri="{FF2B5EF4-FFF2-40B4-BE49-F238E27FC236}">
                <a16:creationId xmlns:a16="http://schemas.microsoft.com/office/drawing/2014/main" id="{CA8D3F8A-2D59-A26A-4B20-51C49A032DF7}"/>
              </a:ext>
            </a:extLst>
          </p:cNvPr>
          <p:cNvSpPr/>
          <p:nvPr/>
        </p:nvSpPr>
        <p:spPr>
          <a:xfrm>
            <a:off x="10553523" y="5555088"/>
            <a:ext cx="1129527" cy="491795"/>
          </a:xfrm>
          <a:prstGeom prst="ellipse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</a:t>
            </a:r>
            <a:endParaRPr lang="en-ID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46" name="Straight Arrow Connector 345">
            <a:extLst>
              <a:ext uri="{FF2B5EF4-FFF2-40B4-BE49-F238E27FC236}">
                <a16:creationId xmlns:a16="http://schemas.microsoft.com/office/drawing/2014/main" id="{799A120D-2BCA-7B3C-44F8-A4DA142FF409}"/>
              </a:ext>
            </a:extLst>
          </p:cNvPr>
          <p:cNvCxnSpPr>
            <a:cxnSpLocks/>
            <a:stCxn id="410" idx="3"/>
            <a:endCxn id="342" idx="2"/>
          </p:cNvCxnSpPr>
          <p:nvPr/>
        </p:nvCxnSpPr>
        <p:spPr>
          <a:xfrm flipV="1">
            <a:off x="10318614" y="5800986"/>
            <a:ext cx="234909" cy="6309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50" name="Straight Arrow Connector 349">
            <a:extLst>
              <a:ext uri="{FF2B5EF4-FFF2-40B4-BE49-F238E27FC236}">
                <a16:creationId xmlns:a16="http://schemas.microsoft.com/office/drawing/2014/main" id="{1E486C03-E061-657A-5E4B-2A8FF6642BC2}"/>
              </a:ext>
            </a:extLst>
          </p:cNvPr>
          <p:cNvCxnSpPr>
            <a:cxnSpLocks/>
            <a:stCxn id="314" idx="3"/>
            <a:endCxn id="322" idx="1"/>
          </p:cNvCxnSpPr>
          <p:nvPr/>
        </p:nvCxnSpPr>
        <p:spPr>
          <a:xfrm>
            <a:off x="8359292" y="4249088"/>
            <a:ext cx="458326" cy="881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54" name="Straight Arrow Connector 353">
            <a:extLst>
              <a:ext uri="{FF2B5EF4-FFF2-40B4-BE49-F238E27FC236}">
                <a16:creationId xmlns:a16="http://schemas.microsoft.com/office/drawing/2014/main" id="{2A450642-1B53-35E8-A305-69409B8A126E}"/>
              </a:ext>
            </a:extLst>
          </p:cNvPr>
          <p:cNvCxnSpPr>
            <a:cxnSpLocks/>
            <a:stCxn id="322" idx="2"/>
            <a:endCxn id="410" idx="0"/>
          </p:cNvCxnSpPr>
          <p:nvPr/>
        </p:nvCxnSpPr>
        <p:spPr>
          <a:xfrm flipH="1">
            <a:off x="9687567" y="4594695"/>
            <a:ext cx="1" cy="966709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23" name="Oval 322">
            <a:extLst>
              <a:ext uri="{FF2B5EF4-FFF2-40B4-BE49-F238E27FC236}">
                <a16:creationId xmlns:a16="http://schemas.microsoft.com/office/drawing/2014/main" id="{60CA1572-B05B-788F-FA95-8B1BE3DABD57}"/>
              </a:ext>
            </a:extLst>
          </p:cNvPr>
          <p:cNvSpPr/>
          <p:nvPr/>
        </p:nvSpPr>
        <p:spPr>
          <a:xfrm>
            <a:off x="9544091" y="4933743"/>
            <a:ext cx="286953" cy="286953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3" name="Straight Arrow Connector 362">
            <a:extLst>
              <a:ext uri="{FF2B5EF4-FFF2-40B4-BE49-F238E27FC236}">
                <a16:creationId xmlns:a16="http://schemas.microsoft.com/office/drawing/2014/main" id="{ED18DB69-E6CC-B57F-DAC8-BD6F016A2326}"/>
              </a:ext>
            </a:extLst>
          </p:cNvPr>
          <p:cNvCxnSpPr>
            <a:cxnSpLocks/>
            <a:stCxn id="322" idx="3"/>
            <a:endCxn id="325" idx="1"/>
          </p:cNvCxnSpPr>
          <p:nvPr/>
        </p:nvCxnSpPr>
        <p:spPr>
          <a:xfrm flipV="1">
            <a:off x="10557518" y="4255315"/>
            <a:ext cx="602967" cy="2584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62" name="Oval 361">
            <a:extLst>
              <a:ext uri="{FF2B5EF4-FFF2-40B4-BE49-F238E27FC236}">
                <a16:creationId xmlns:a16="http://schemas.microsoft.com/office/drawing/2014/main" id="{3175C921-CFD9-152B-676C-40763B1D888D}"/>
              </a:ext>
            </a:extLst>
          </p:cNvPr>
          <p:cNvSpPr/>
          <p:nvPr/>
        </p:nvSpPr>
        <p:spPr>
          <a:xfrm>
            <a:off x="10718925" y="4129865"/>
            <a:ext cx="286953" cy="28695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4F51CE94-7E80-5B76-E0B5-FC78857F1DC3}"/>
              </a:ext>
            </a:extLst>
          </p:cNvPr>
          <p:cNvSpPr/>
          <p:nvPr/>
        </p:nvSpPr>
        <p:spPr>
          <a:xfrm>
            <a:off x="1409333" y="3389943"/>
            <a:ext cx="286953" cy="286953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3" name="Oval 232">
            <a:extLst>
              <a:ext uri="{FF2B5EF4-FFF2-40B4-BE49-F238E27FC236}">
                <a16:creationId xmlns:a16="http://schemas.microsoft.com/office/drawing/2014/main" id="{1B0641BE-D672-92D8-2995-9B7864013DC4}"/>
              </a:ext>
            </a:extLst>
          </p:cNvPr>
          <p:cNvSpPr/>
          <p:nvPr/>
        </p:nvSpPr>
        <p:spPr>
          <a:xfrm>
            <a:off x="1409333" y="5305499"/>
            <a:ext cx="286953" cy="28695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9547FD53-E368-9C1E-B871-5B4FE4DAEEFD}"/>
              </a:ext>
            </a:extLst>
          </p:cNvPr>
          <p:cNvSpPr/>
          <p:nvPr/>
        </p:nvSpPr>
        <p:spPr>
          <a:xfrm>
            <a:off x="6220533" y="2106348"/>
            <a:ext cx="286953" cy="28695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8E2C16B2-5725-8D79-B766-D603419D0ABF}"/>
              </a:ext>
            </a:extLst>
          </p:cNvPr>
          <p:cNvCxnSpPr>
            <a:cxnSpLocks/>
          </p:cNvCxnSpPr>
          <p:nvPr/>
        </p:nvCxnSpPr>
        <p:spPr>
          <a:xfrm>
            <a:off x="6127065" y="1796192"/>
            <a:ext cx="0" cy="4380394"/>
          </a:xfrm>
          <a:prstGeom prst="line">
            <a:avLst/>
          </a:prstGeom>
          <a:ln w="1270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8" name="Straight Arrow Connector 309">
            <a:extLst>
              <a:ext uri="{FF2B5EF4-FFF2-40B4-BE49-F238E27FC236}">
                <a16:creationId xmlns:a16="http://schemas.microsoft.com/office/drawing/2014/main" id="{E27D0783-6827-2C10-80CA-FC134CF64156}"/>
              </a:ext>
            </a:extLst>
          </p:cNvPr>
          <p:cNvCxnSpPr>
            <a:cxnSpLocks/>
            <a:stCxn id="52" idx="3"/>
            <a:endCxn id="136" idx="4"/>
          </p:cNvCxnSpPr>
          <p:nvPr/>
        </p:nvCxnSpPr>
        <p:spPr>
          <a:xfrm flipV="1">
            <a:off x="5973755" y="2393301"/>
            <a:ext cx="390255" cy="3055674"/>
          </a:xfrm>
          <a:prstGeom prst="bentConnector2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404" name="Group 403">
            <a:extLst>
              <a:ext uri="{FF2B5EF4-FFF2-40B4-BE49-F238E27FC236}">
                <a16:creationId xmlns:a16="http://schemas.microsoft.com/office/drawing/2014/main" id="{1E3AE3E0-13D7-2105-A97B-FA4A7DD6111B}"/>
              </a:ext>
            </a:extLst>
          </p:cNvPr>
          <p:cNvGrpSpPr/>
          <p:nvPr/>
        </p:nvGrpSpPr>
        <p:grpSpPr>
          <a:xfrm>
            <a:off x="367575" y="6495090"/>
            <a:ext cx="866299" cy="223796"/>
            <a:chOff x="234026" y="6426622"/>
            <a:chExt cx="953105" cy="246221"/>
          </a:xfrm>
        </p:grpSpPr>
        <p:sp>
          <p:nvSpPr>
            <p:cNvPr id="394" name="Oval 393">
              <a:extLst>
                <a:ext uri="{FF2B5EF4-FFF2-40B4-BE49-F238E27FC236}">
                  <a16:creationId xmlns:a16="http://schemas.microsoft.com/office/drawing/2014/main" id="{A7783251-632E-3F42-FF38-0BCBEE707FD7}"/>
                </a:ext>
              </a:extLst>
            </p:cNvPr>
            <p:cNvSpPr/>
            <p:nvPr/>
          </p:nvSpPr>
          <p:spPr>
            <a:xfrm>
              <a:off x="306026" y="6449427"/>
              <a:ext cx="216000" cy="21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</a:t>
              </a:r>
              <a:endParaRPr lang="en-ID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0" name="TextBox 399">
              <a:extLst>
                <a:ext uri="{FF2B5EF4-FFF2-40B4-BE49-F238E27FC236}">
                  <a16:creationId xmlns:a16="http://schemas.microsoft.com/office/drawing/2014/main" id="{091E7E36-1637-952F-2D56-A86577DC2788}"/>
                </a:ext>
              </a:extLst>
            </p:cNvPr>
            <p:cNvSpPr txBox="1"/>
            <p:nvPr/>
          </p:nvSpPr>
          <p:spPr>
            <a:xfrm>
              <a:off x="234026" y="6426622"/>
              <a:ext cx="95310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es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05" name="Group 404">
            <a:extLst>
              <a:ext uri="{FF2B5EF4-FFF2-40B4-BE49-F238E27FC236}">
                <a16:creationId xmlns:a16="http://schemas.microsoft.com/office/drawing/2014/main" id="{19C60C10-C1B0-17D4-F737-5A609B5209A9}"/>
              </a:ext>
            </a:extLst>
          </p:cNvPr>
          <p:cNvGrpSpPr/>
          <p:nvPr/>
        </p:nvGrpSpPr>
        <p:grpSpPr>
          <a:xfrm>
            <a:off x="992587" y="6495090"/>
            <a:ext cx="866299" cy="223796"/>
            <a:chOff x="1261221" y="6411327"/>
            <a:chExt cx="953105" cy="246221"/>
          </a:xfrm>
        </p:grpSpPr>
        <p:sp>
          <p:nvSpPr>
            <p:cNvPr id="395" name="Oval 394">
              <a:extLst>
                <a:ext uri="{FF2B5EF4-FFF2-40B4-BE49-F238E27FC236}">
                  <a16:creationId xmlns:a16="http://schemas.microsoft.com/office/drawing/2014/main" id="{9C19EE1F-F0F9-4C39-44A2-4A73D9F4B2CF}"/>
                </a:ext>
              </a:extLst>
            </p:cNvPr>
            <p:cNvSpPr/>
            <p:nvPr/>
          </p:nvSpPr>
          <p:spPr>
            <a:xfrm>
              <a:off x="1367589" y="6440405"/>
              <a:ext cx="216000" cy="216000"/>
            </a:xfrm>
            <a:prstGeom prst="ellipse">
              <a:avLst/>
            </a:prstGeom>
            <a:solidFill>
              <a:srgbClr val="071F4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</a:t>
              </a:r>
              <a:endParaRPr lang="en-ID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2" name="TextBox 401">
              <a:extLst>
                <a:ext uri="{FF2B5EF4-FFF2-40B4-BE49-F238E27FC236}">
                  <a16:creationId xmlns:a16="http://schemas.microsoft.com/office/drawing/2014/main" id="{8A1A50DC-3B01-911F-0894-7B07AB4F0BA0}"/>
                </a:ext>
              </a:extLst>
            </p:cNvPr>
            <p:cNvSpPr txBox="1"/>
            <p:nvPr/>
          </p:nvSpPr>
          <p:spPr>
            <a:xfrm>
              <a:off x="1261221" y="6411327"/>
              <a:ext cx="95310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07" name="Group 406">
            <a:extLst>
              <a:ext uri="{FF2B5EF4-FFF2-40B4-BE49-F238E27FC236}">
                <a16:creationId xmlns:a16="http://schemas.microsoft.com/office/drawing/2014/main" id="{F7B4B039-CE63-B5C3-861A-B62142680416}"/>
              </a:ext>
            </a:extLst>
          </p:cNvPr>
          <p:cNvGrpSpPr/>
          <p:nvPr/>
        </p:nvGrpSpPr>
        <p:grpSpPr>
          <a:xfrm>
            <a:off x="1715801" y="6483878"/>
            <a:ext cx="2291133" cy="246221"/>
            <a:chOff x="2648707" y="6401937"/>
            <a:chExt cx="2520714" cy="270893"/>
          </a:xfrm>
        </p:grpSpPr>
        <p:grpSp>
          <p:nvGrpSpPr>
            <p:cNvPr id="397" name="Group 396">
              <a:extLst>
                <a:ext uri="{FF2B5EF4-FFF2-40B4-BE49-F238E27FC236}">
                  <a16:creationId xmlns:a16="http://schemas.microsoft.com/office/drawing/2014/main" id="{88B24242-9153-7714-6E91-B79926754F1B}"/>
                </a:ext>
              </a:extLst>
            </p:cNvPr>
            <p:cNvGrpSpPr/>
            <p:nvPr/>
          </p:nvGrpSpPr>
          <p:grpSpPr>
            <a:xfrm>
              <a:off x="2648707" y="6435587"/>
              <a:ext cx="360000" cy="216000"/>
              <a:chOff x="1834931" y="5649539"/>
              <a:chExt cx="596172" cy="383537"/>
            </a:xfrm>
          </p:grpSpPr>
          <p:sp>
            <p:nvSpPr>
              <p:cNvPr id="398" name="Rectangle: Rounded Corners 397">
                <a:extLst>
                  <a:ext uri="{FF2B5EF4-FFF2-40B4-BE49-F238E27FC236}">
                    <a16:creationId xmlns:a16="http://schemas.microsoft.com/office/drawing/2014/main" id="{0DFBA8C2-5236-C460-8E14-395655C2F9BF}"/>
                  </a:ext>
                </a:extLst>
              </p:cNvPr>
              <p:cNvSpPr/>
              <p:nvPr/>
            </p:nvSpPr>
            <p:spPr>
              <a:xfrm>
                <a:off x="1834931" y="5649539"/>
                <a:ext cx="596172" cy="378371"/>
              </a:xfrm>
              <a:prstGeom prst="roundRect">
                <a:avLst/>
              </a:prstGeom>
              <a:solidFill>
                <a:srgbClr val="EEEEEE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1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399" name="Picture 398">
                <a:extLst>
                  <a:ext uri="{FF2B5EF4-FFF2-40B4-BE49-F238E27FC236}">
                    <a16:creationId xmlns:a16="http://schemas.microsoft.com/office/drawing/2014/main" id="{631D1DA7-EC5C-5577-A710-62F7A599C2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85265" y="5654705"/>
                <a:ext cx="504107" cy="378371"/>
              </a:xfrm>
              <a:prstGeom prst="rect">
                <a:avLst/>
              </a:prstGeom>
            </p:spPr>
          </p:pic>
        </p:grpSp>
        <p:sp>
          <p:nvSpPr>
            <p:cNvPr id="403" name="TextBox 402">
              <a:extLst>
                <a:ext uri="{FF2B5EF4-FFF2-40B4-BE49-F238E27FC236}">
                  <a16:creationId xmlns:a16="http://schemas.microsoft.com/office/drawing/2014/main" id="{63E5112D-B7CF-EE64-86DA-B6AA9AB910CD}"/>
                </a:ext>
              </a:extLst>
            </p:cNvPr>
            <p:cNvSpPr txBox="1"/>
            <p:nvPr/>
          </p:nvSpPr>
          <p:spPr>
            <a:xfrm>
              <a:off x="2876500" y="6401937"/>
              <a:ext cx="2292921" cy="2708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nd error/retry alert to discord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09" name="TextBox 408">
            <a:extLst>
              <a:ext uri="{FF2B5EF4-FFF2-40B4-BE49-F238E27FC236}">
                <a16:creationId xmlns:a16="http://schemas.microsoft.com/office/drawing/2014/main" id="{5593DEC4-A216-D5DD-6C46-1E47C98C7928}"/>
              </a:ext>
            </a:extLst>
          </p:cNvPr>
          <p:cNvSpPr txBox="1"/>
          <p:nvPr/>
        </p:nvSpPr>
        <p:spPr>
          <a:xfrm>
            <a:off x="4042019" y="3840319"/>
            <a:ext cx="162672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1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.</a:t>
            </a:r>
            <a:r>
              <a:rPr lang="en-US" sz="1050" b="1" i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sql</a:t>
            </a:r>
            <a:r>
              <a:rPr lang="en-US" sz="1050" b="1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 file </a:t>
            </a:r>
            <a:r>
              <a:rPr lang="en-US" sz="105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contains DDL commands – refer to Appendix 1</a:t>
            </a:r>
            <a:endParaRPr kumimoji="0" lang="en-US" sz="1050" i="1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410" name="Rectangle: Rounded Corners 409">
            <a:extLst>
              <a:ext uri="{FF2B5EF4-FFF2-40B4-BE49-F238E27FC236}">
                <a16:creationId xmlns:a16="http://schemas.microsoft.com/office/drawing/2014/main" id="{0310C3D8-F5BA-D5CB-6B37-F9AD0A8B759D}"/>
              </a:ext>
            </a:extLst>
          </p:cNvPr>
          <p:cNvSpPr/>
          <p:nvPr/>
        </p:nvSpPr>
        <p:spPr>
          <a:xfrm>
            <a:off x="9056519" y="5561404"/>
            <a:ext cx="1262095" cy="491782"/>
          </a:xfrm>
          <a:prstGeom prst="roundRect">
            <a:avLst/>
          </a:prstGeom>
          <a:solidFill>
            <a:srgbClr val="EEEEEE"/>
          </a:solidFill>
          <a:ln>
            <a:solidFill>
              <a:srgbClr val="2552E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loaded to DB</a:t>
            </a:r>
            <a:endParaRPr lang="en-ID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21" name="Group 420">
            <a:extLst>
              <a:ext uri="{FF2B5EF4-FFF2-40B4-BE49-F238E27FC236}">
                <a16:creationId xmlns:a16="http://schemas.microsoft.com/office/drawing/2014/main" id="{FFC6DBB2-9847-7ACE-0C41-656DBE7000F2}"/>
              </a:ext>
            </a:extLst>
          </p:cNvPr>
          <p:cNvGrpSpPr/>
          <p:nvPr/>
        </p:nvGrpSpPr>
        <p:grpSpPr>
          <a:xfrm>
            <a:off x="3974480" y="6483878"/>
            <a:ext cx="1717312" cy="246221"/>
            <a:chOff x="4873325" y="6463091"/>
            <a:chExt cx="1889394" cy="270893"/>
          </a:xfrm>
        </p:grpSpPr>
        <p:sp>
          <p:nvSpPr>
            <p:cNvPr id="419" name="Rectangle: Rounded Corners 418">
              <a:extLst>
                <a:ext uri="{FF2B5EF4-FFF2-40B4-BE49-F238E27FC236}">
                  <a16:creationId xmlns:a16="http://schemas.microsoft.com/office/drawing/2014/main" id="{43F5FA3A-D291-16F9-4F58-FDF3B7591E33}"/>
                </a:ext>
              </a:extLst>
            </p:cNvPr>
            <p:cNvSpPr/>
            <p:nvPr/>
          </p:nvSpPr>
          <p:spPr>
            <a:xfrm>
              <a:off x="4873325" y="6491993"/>
              <a:ext cx="353902" cy="208705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2552E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2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0" name="TextBox 419">
              <a:extLst>
                <a:ext uri="{FF2B5EF4-FFF2-40B4-BE49-F238E27FC236}">
                  <a16:creationId xmlns:a16="http://schemas.microsoft.com/office/drawing/2014/main" id="{86A6C5EF-8C2D-E190-2ACB-D5C03622186E}"/>
                </a:ext>
              </a:extLst>
            </p:cNvPr>
            <p:cNvSpPr txBox="1"/>
            <p:nvPr/>
          </p:nvSpPr>
          <p:spPr>
            <a:xfrm>
              <a:off x="5149553" y="6463091"/>
              <a:ext cx="1613166" cy="2708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st process in a task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2BE35A45-3DD8-834A-CF52-32F9797DF729}"/>
              </a:ext>
            </a:extLst>
          </p:cNvPr>
          <p:cNvSpPr txBox="1"/>
          <p:nvPr/>
        </p:nvSpPr>
        <p:spPr>
          <a:xfrm>
            <a:off x="-12636" y="3739395"/>
            <a:ext cx="162672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EMprint" panose="020B0503020204020204" pitchFamily="34" charset="0"/>
                <a:cs typeface="Arial" panose="020B0604020202020204" pitchFamily="34" charset="0"/>
              </a:rPr>
              <a:t>Discord alert refer to Appendix 2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B5A946C-A73F-F0FD-6D23-0A3A83E80ED5}"/>
              </a:ext>
            </a:extLst>
          </p:cNvPr>
          <p:cNvGrpSpPr/>
          <p:nvPr/>
        </p:nvGrpSpPr>
        <p:grpSpPr>
          <a:xfrm>
            <a:off x="10283354" y="6470881"/>
            <a:ext cx="1736750" cy="139126"/>
            <a:chOff x="9901276" y="6498754"/>
            <a:chExt cx="1736750" cy="139126"/>
          </a:xfrm>
        </p:grpSpPr>
        <p:sp>
          <p:nvSpPr>
            <p:cNvPr id="15" name="SlideLogoText">
              <a:extLst>
                <a:ext uri="{FF2B5EF4-FFF2-40B4-BE49-F238E27FC236}">
                  <a16:creationId xmlns:a16="http://schemas.microsoft.com/office/drawing/2014/main" id="{0837712E-605F-80F6-D73E-BF3F7A4C1EB0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9901276" y="6499381"/>
              <a:ext cx="1617430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7" name="Slide Number">
              <a:extLst>
                <a:ext uri="{FF2B5EF4-FFF2-40B4-BE49-F238E27FC236}">
                  <a16:creationId xmlns:a16="http://schemas.microsoft.com/office/drawing/2014/main" id="{214BFF07-21CE-7725-737F-FEE257919E20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7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891958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F8AA26-E4C0-CCFE-757B-49606FDCB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C54F4FA5-A374-3DF0-18B4-B9ECABA77367}"/>
              </a:ext>
            </a:extLst>
          </p:cNvPr>
          <p:cNvCxnSpPr>
            <a:cxnSpLocks/>
          </p:cNvCxnSpPr>
          <p:nvPr/>
        </p:nvCxnSpPr>
        <p:spPr>
          <a:xfrm>
            <a:off x="7716406" y="1804876"/>
            <a:ext cx="0" cy="4479466"/>
          </a:xfrm>
          <a:prstGeom prst="line">
            <a:avLst/>
          </a:prstGeom>
          <a:ln w="1270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03B0FAA7-6884-F177-BD95-EC1595D9147D}"/>
              </a:ext>
            </a:extLst>
          </p:cNvPr>
          <p:cNvCxnSpPr>
            <a:cxnSpLocks/>
          </p:cNvCxnSpPr>
          <p:nvPr/>
        </p:nvCxnSpPr>
        <p:spPr>
          <a:xfrm>
            <a:off x="4048368" y="1804876"/>
            <a:ext cx="0" cy="4479466"/>
          </a:xfrm>
          <a:prstGeom prst="line">
            <a:avLst/>
          </a:prstGeom>
          <a:ln w="1270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C789BE6A-F07B-652E-8E8E-E60BBFC6BBC4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3A2DCD0-637D-054C-0DF0-8FA4BBDD21EB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9FBCDC97-8954-3350-612A-E09D0223138B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1C8CC4E9-D2AF-63A6-08BD-D47516F8CEE9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evelopment Cycle and Process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D84F055F-C533-BFE4-D25C-9E6F3EF2238E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5FCB29FC-62C0-E5C5-F9DA-20F6F767FF2B}"/>
              </a:ext>
            </a:extLst>
          </p:cNvPr>
          <p:cNvSpPr txBox="1"/>
          <p:nvPr/>
        </p:nvSpPr>
        <p:spPr>
          <a:xfrm>
            <a:off x="206943" y="478058"/>
            <a:ext cx="119850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latin typeface="Georgia" panose="02040502050405020303" pitchFamily="18" charset="0"/>
                <a:ea typeface="Tahoma" panose="020B0604030504040204" pitchFamily="34" charset="0"/>
              </a:rPr>
              <a:t>2</a:t>
            </a:r>
            <a:r>
              <a:rPr kumimoji="0" lang="en-US" sz="2400" b="1" i="0" strike="noStrike" kern="1200" cap="none" spc="0" normalizeH="0" baseline="30000" noProof="0" dirty="0" err="1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nd</a:t>
            </a: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 project deliverable: Automation logic flow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9BBDCF7-383F-3A80-2703-290A8177F4FB}"/>
              </a:ext>
            </a:extLst>
          </p:cNvPr>
          <p:cNvCxnSpPr>
            <a:cxnSpLocks/>
          </p:cNvCxnSpPr>
          <p:nvPr/>
        </p:nvCxnSpPr>
        <p:spPr>
          <a:xfrm>
            <a:off x="300998" y="939723"/>
            <a:ext cx="11450129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FCCE201F-B2B2-FD82-3C15-FD9E85EFE3DE}"/>
              </a:ext>
            </a:extLst>
          </p:cNvPr>
          <p:cNvSpPr/>
          <p:nvPr/>
        </p:nvSpPr>
        <p:spPr>
          <a:xfrm rot="16200000">
            <a:off x="5857183" y="-4503912"/>
            <a:ext cx="337762" cy="11450131"/>
          </a:xfrm>
          <a:prstGeom prst="roundRect">
            <a:avLst>
              <a:gd name="adj" fmla="val 7509"/>
            </a:avLst>
          </a:prstGeom>
          <a:gradFill flip="none" rotWithShape="1">
            <a:gsLst>
              <a:gs pos="0">
                <a:srgbClr val="051C39"/>
              </a:gs>
              <a:gs pos="100000">
                <a:srgbClr val="2552E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60CAFF0-6851-D454-677F-D4ACE33200C8}"/>
              </a:ext>
            </a:extLst>
          </p:cNvPr>
          <p:cNvSpPr txBox="1"/>
          <p:nvPr/>
        </p:nvSpPr>
        <p:spPr>
          <a:xfrm>
            <a:off x="287907" y="1047566"/>
            <a:ext cx="11272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G_NAME: 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G2_load_to_bigquery.py </a:t>
            </a: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OBJECTIVE: 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TCH data from PostgreSQL and UPSERT to </a:t>
            </a:r>
            <a:r>
              <a:rPr lang="en-US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gQuery</a:t>
            </a:r>
            <a:endParaRPr lang="en-ID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57685DBF-8EAC-4B17-B0A8-64CCF5639DCB}"/>
              </a:ext>
            </a:extLst>
          </p:cNvPr>
          <p:cNvSpPr/>
          <p:nvPr/>
        </p:nvSpPr>
        <p:spPr>
          <a:xfrm>
            <a:off x="96806" y="1457363"/>
            <a:ext cx="3846606" cy="337764"/>
          </a:xfrm>
          <a:prstGeom prst="roundRect">
            <a:avLst>
              <a:gd name="adj" fmla="val 7509"/>
            </a:avLst>
          </a:prstGeom>
          <a:noFill/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 1: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sure table existence in </a:t>
            </a: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gQuery</a:t>
            </a:r>
            <a:endParaRPr lang="en-ID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A0E3EAAC-73A8-FE51-8002-2FE5AD8F7849}"/>
              </a:ext>
            </a:extLst>
          </p:cNvPr>
          <p:cNvSpPr/>
          <p:nvPr/>
        </p:nvSpPr>
        <p:spPr>
          <a:xfrm>
            <a:off x="3943481" y="1457363"/>
            <a:ext cx="3760848" cy="337764"/>
          </a:xfrm>
          <a:prstGeom prst="roundRect">
            <a:avLst>
              <a:gd name="adj" fmla="val 7509"/>
            </a:avLst>
          </a:prstGeom>
          <a:noFill/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 2: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ct data and push DF to XCOM</a:t>
            </a:r>
            <a:endParaRPr lang="en-ID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0706630-910D-C5A6-02C7-CE70217C1D68}"/>
              </a:ext>
            </a:extLst>
          </p:cNvPr>
          <p:cNvCxnSpPr>
            <a:cxnSpLocks/>
          </p:cNvCxnSpPr>
          <p:nvPr/>
        </p:nvCxnSpPr>
        <p:spPr>
          <a:xfrm>
            <a:off x="4123950" y="1801366"/>
            <a:ext cx="3468341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51DEF99B-6AE9-AE9D-81E1-4953AD9497A1}"/>
              </a:ext>
            </a:extLst>
          </p:cNvPr>
          <p:cNvCxnSpPr>
            <a:cxnSpLocks/>
          </p:cNvCxnSpPr>
          <p:nvPr/>
        </p:nvCxnSpPr>
        <p:spPr>
          <a:xfrm>
            <a:off x="354375" y="1801366"/>
            <a:ext cx="362010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04" name="Group 403">
            <a:extLst>
              <a:ext uri="{FF2B5EF4-FFF2-40B4-BE49-F238E27FC236}">
                <a16:creationId xmlns:a16="http://schemas.microsoft.com/office/drawing/2014/main" id="{F7A29B83-0486-FA55-27DC-E04592522EB2}"/>
              </a:ext>
            </a:extLst>
          </p:cNvPr>
          <p:cNvGrpSpPr/>
          <p:nvPr/>
        </p:nvGrpSpPr>
        <p:grpSpPr>
          <a:xfrm>
            <a:off x="367575" y="6495090"/>
            <a:ext cx="866299" cy="223796"/>
            <a:chOff x="234026" y="6426622"/>
            <a:chExt cx="953105" cy="246221"/>
          </a:xfrm>
        </p:grpSpPr>
        <p:sp>
          <p:nvSpPr>
            <p:cNvPr id="394" name="Oval 393">
              <a:extLst>
                <a:ext uri="{FF2B5EF4-FFF2-40B4-BE49-F238E27FC236}">
                  <a16:creationId xmlns:a16="http://schemas.microsoft.com/office/drawing/2014/main" id="{30BD6D6E-E21D-C86B-4B09-568CE38D3EC8}"/>
                </a:ext>
              </a:extLst>
            </p:cNvPr>
            <p:cNvSpPr/>
            <p:nvPr/>
          </p:nvSpPr>
          <p:spPr>
            <a:xfrm>
              <a:off x="306026" y="6449427"/>
              <a:ext cx="216000" cy="21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</a:t>
              </a:r>
              <a:endParaRPr lang="en-ID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0" name="TextBox 399">
              <a:extLst>
                <a:ext uri="{FF2B5EF4-FFF2-40B4-BE49-F238E27FC236}">
                  <a16:creationId xmlns:a16="http://schemas.microsoft.com/office/drawing/2014/main" id="{F41026E8-28DC-CBD4-F522-A3449AF5C342}"/>
                </a:ext>
              </a:extLst>
            </p:cNvPr>
            <p:cNvSpPr txBox="1"/>
            <p:nvPr/>
          </p:nvSpPr>
          <p:spPr>
            <a:xfrm>
              <a:off x="234026" y="6426622"/>
              <a:ext cx="95310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es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05" name="Group 404">
            <a:extLst>
              <a:ext uri="{FF2B5EF4-FFF2-40B4-BE49-F238E27FC236}">
                <a16:creationId xmlns:a16="http://schemas.microsoft.com/office/drawing/2014/main" id="{44DD0292-A6DF-99A0-BC19-06C569779B89}"/>
              </a:ext>
            </a:extLst>
          </p:cNvPr>
          <p:cNvGrpSpPr/>
          <p:nvPr/>
        </p:nvGrpSpPr>
        <p:grpSpPr>
          <a:xfrm>
            <a:off x="992587" y="6495090"/>
            <a:ext cx="866299" cy="223796"/>
            <a:chOff x="1261221" y="6411327"/>
            <a:chExt cx="953105" cy="246221"/>
          </a:xfrm>
        </p:grpSpPr>
        <p:sp>
          <p:nvSpPr>
            <p:cNvPr id="395" name="Oval 394">
              <a:extLst>
                <a:ext uri="{FF2B5EF4-FFF2-40B4-BE49-F238E27FC236}">
                  <a16:creationId xmlns:a16="http://schemas.microsoft.com/office/drawing/2014/main" id="{1B75CE1B-5613-3C31-2272-51DF9384D645}"/>
                </a:ext>
              </a:extLst>
            </p:cNvPr>
            <p:cNvSpPr/>
            <p:nvPr/>
          </p:nvSpPr>
          <p:spPr>
            <a:xfrm>
              <a:off x="1367589" y="6440405"/>
              <a:ext cx="216000" cy="216000"/>
            </a:xfrm>
            <a:prstGeom prst="ellipse">
              <a:avLst/>
            </a:prstGeom>
            <a:solidFill>
              <a:srgbClr val="071F4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</a:t>
              </a:r>
              <a:endParaRPr lang="en-ID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2" name="TextBox 401">
              <a:extLst>
                <a:ext uri="{FF2B5EF4-FFF2-40B4-BE49-F238E27FC236}">
                  <a16:creationId xmlns:a16="http://schemas.microsoft.com/office/drawing/2014/main" id="{B210117B-6754-0325-F7D1-6F0A40A0AAFF}"/>
                </a:ext>
              </a:extLst>
            </p:cNvPr>
            <p:cNvSpPr txBox="1"/>
            <p:nvPr/>
          </p:nvSpPr>
          <p:spPr>
            <a:xfrm>
              <a:off x="1261221" y="6411327"/>
              <a:ext cx="95310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07" name="Group 406">
            <a:extLst>
              <a:ext uri="{FF2B5EF4-FFF2-40B4-BE49-F238E27FC236}">
                <a16:creationId xmlns:a16="http://schemas.microsoft.com/office/drawing/2014/main" id="{D3F6F902-0C73-050F-F89B-65E162628827}"/>
              </a:ext>
            </a:extLst>
          </p:cNvPr>
          <p:cNvGrpSpPr/>
          <p:nvPr/>
        </p:nvGrpSpPr>
        <p:grpSpPr>
          <a:xfrm>
            <a:off x="1715801" y="6483878"/>
            <a:ext cx="2291133" cy="246221"/>
            <a:chOff x="2648707" y="6401937"/>
            <a:chExt cx="2520714" cy="270893"/>
          </a:xfrm>
        </p:grpSpPr>
        <p:grpSp>
          <p:nvGrpSpPr>
            <p:cNvPr id="397" name="Group 396">
              <a:extLst>
                <a:ext uri="{FF2B5EF4-FFF2-40B4-BE49-F238E27FC236}">
                  <a16:creationId xmlns:a16="http://schemas.microsoft.com/office/drawing/2014/main" id="{8E071A0F-BF85-C659-0359-2FBA57F3EE29}"/>
                </a:ext>
              </a:extLst>
            </p:cNvPr>
            <p:cNvGrpSpPr/>
            <p:nvPr/>
          </p:nvGrpSpPr>
          <p:grpSpPr>
            <a:xfrm>
              <a:off x="2648707" y="6435587"/>
              <a:ext cx="360000" cy="216000"/>
              <a:chOff x="1834931" y="5649539"/>
              <a:chExt cx="596172" cy="383537"/>
            </a:xfrm>
          </p:grpSpPr>
          <p:sp>
            <p:nvSpPr>
              <p:cNvPr id="398" name="Rectangle: Rounded Corners 397">
                <a:extLst>
                  <a:ext uri="{FF2B5EF4-FFF2-40B4-BE49-F238E27FC236}">
                    <a16:creationId xmlns:a16="http://schemas.microsoft.com/office/drawing/2014/main" id="{88098247-8874-0D8C-57B8-C8149B7B81D2}"/>
                  </a:ext>
                </a:extLst>
              </p:cNvPr>
              <p:cNvSpPr/>
              <p:nvPr/>
            </p:nvSpPr>
            <p:spPr>
              <a:xfrm>
                <a:off x="1834931" y="5649539"/>
                <a:ext cx="596172" cy="378371"/>
              </a:xfrm>
              <a:prstGeom prst="roundRect">
                <a:avLst/>
              </a:prstGeom>
              <a:solidFill>
                <a:srgbClr val="EEEEEE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1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399" name="Picture 398">
                <a:extLst>
                  <a:ext uri="{FF2B5EF4-FFF2-40B4-BE49-F238E27FC236}">
                    <a16:creationId xmlns:a16="http://schemas.microsoft.com/office/drawing/2014/main" id="{36CAB75D-E98E-0013-8E33-3A5A401715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85265" y="5654705"/>
                <a:ext cx="504107" cy="378371"/>
              </a:xfrm>
              <a:prstGeom prst="rect">
                <a:avLst/>
              </a:prstGeom>
            </p:spPr>
          </p:pic>
        </p:grpSp>
        <p:sp>
          <p:nvSpPr>
            <p:cNvPr id="403" name="TextBox 402">
              <a:extLst>
                <a:ext uri="{FF2B5EF4-FFF2-40B4-BE49-F238E27FC236}">
                  <a16:creationId xmlns:a16="http://schemas.microsoft.com/office/drawing/2014/main" id="{7B65798B-EF7B-B2C4-A79A-5696AAB29034}"/>
                </a:ext>
              </a:extLst>
            </p:cNvPr>
            <p:cNvSpPr txBox="1"/>
            <p:nvPr/>
          </p:nvSpPr>
          <p:spPr>
            <a:xfrm>
              <a:off x="2876500" y="6401937"/>
              <a:ext cx="2292921" cy="2708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nd error/retry alert to discord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21" name="Group 420">
            <a:extLst>
              <a:ext uri="{FF2B5EF4-FFF2-40B4-BE49-F238E27FC236}">
                <a16:creationId xmlns:a16="http://schemas.microsoft.com/office/drawing/2014/main" id="{18EE8EAF-ABBA-597D-B5B8-ED9444F0FB5B}"/>
              </a:ext>
            </a:extLst>
          </p:cNvPr>
          <p:cNvGrpSpPr/>
          <p:nvPr/>
        </p:nvGrpSpPr>
        <p:grpSpPr>
          <a:xfrm>
            <a:off x="3974480" y="6483878"/>
            <a:ext cx="1717312" cy="246221"/>
            <a:chOff x="4873325" y="6463091"/>
            <a:chExt cx="1889394" cy="270893"/>
          </a:xfrm>
        </p:grpSpPr>
        <p:sp>
          <p:nvSpPr>
            <p:cNvPr id="419" name="Rectangle: Rounded Corners 418">
              <a:extLst>
                <a:ext uri="{FF2B5EF4-FFF2-40B4-BE49-F238E27FC236}">
                  <a16:creationId xmlns:a16="http://schemas.microsoft.com/office/drawing/2014/main" id="{49060C70-242E-F732-F6DC-2B81FC07B98D}"/>
                </a:ext>
              </a:extLst>
            </p:cNvPr>
            <p:cNvSpPr/>
            <p:nvPr/>
          </p:nvSpPr>
          <p:spPr>
            <a:xfrm>
              <a:off x="4873325" y="6491993"/>
              <a:ext cx="353902" cy="208705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2552E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2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0" name="TextBox 419">
              <a:extLst>
                <a:ext uri="{FF2B5EF4-FFF2-40B4-BE49-F238E27FC236}">
                  <a16:creationId xmlns:a16="http://schemas.microsoft.com/office/drawing/2014/main" id="{AAF86483-7B51-4C46-618F-DD2E5A194F89}"/>
                </a:ext>
              </a:extLst>
            </p:cNvPr>
            <p:cNvSpPr txBox="1"/>
            <p:nvPr/>
          </p:nvSpPr>
          <p:spPr>
            <a:xfrm>
              <a:off x="5149553" y="6463091"/>
              <a:ext cx="1613166" cy="2708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st process in a task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872BC1CC-2E30-FA09-E1CA-F06D37A13E07}"/>
              </a:ext>
            </a:extLst>
          </p:cNvPr>
          <p:cNvSpPr/>
          <p:nvPr/>
        </p:nvSpPr>
        <p:spPr>
          <a:xfrm>
            <a:off x="7657432" y="1457363"/>
            <a:ext cx="3902848" cy="337764"/>
          </a:xfrm>
          <a:prstGeom prst="roundRect">
            <a:avLst>
              <a:gd name="adj" fmla="val 7509"/>
            </a:avLst>
          </a:prstGeom>
          <a:noFill/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 3: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ll DF from XCOM and </a:t>
            </a: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sert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BQ</a:t>
            </a:r>
            <a:endParaRPr lang="en-ID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DAC8A8F-E500-4008-00C6-09478918E735}"/>
              </a:ext>
            </a:extLst>
          </p:cNvPr>
          <p:cNvCxnSpPr>
            <a:cxnSpLocks/>
          </p:cNvCxnSpPr>
          <p:nvPr/>
        </p:nvCxnSpPr>
        <p:spPr>
          <a:xfrm>
            <a:off x="7800469" y="1795127"/>
            <a:ext cx="3950658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id="{6BF11E76-1414-73B3-0CD0-8D78CD75BDA6}"/>
              </a:ext>
            </a:extLst>
          </p:cNvPr>
          <p:cNvSpPr/>
          <p:nvPr/>
        </p:nvSpPr>
        <p:spPr>
          <a:xfrm>
            <a:off x="403292" y="2084727"/>
            <a:ext cx="964731" cy="420043"/>
          </a:xfrm>
          <a:prstGeom prst="ellipse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86781767-9D55-4459-E617-711D311F9B48}"/>
              </a:ext>
            </a:extLst>
          </p:cNvPr>
          <p:cNvSpPr/>
          <p:nvPr/>
        </p:nvSpPr>
        <p:spPr>
          <a:xfrm>
            <a:off x="2194360" y="2084731"/>
            <a:ext cx="1077957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ck table existence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Diamond 34">
            <a:extLst>
              <a:ext uri="{FF2B5EF4-FFF2-40B4-BE49-F238E27FC236}">
                <a16:creationId xmlns:a16="http://schemas.microsoft.com/office/drawing/2014/main" id="{A8837B3E-A4AE-50E9-5E75-771A6886DD72}"/>
              </a:ext>
            </a:extLst>
          </p:cNvPr>
          <p:cNvSpPr/>
          <p:nvPr/>
        </p:nvSpPr>
        <p:spPr>
          <a:xfrm>
            <a:off x="1994893" y="2897945"/>
            <a:ext cx="1486051" cy="57531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le exist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AEFD7318-0B71-D192-3EA0-E2C61EC22485}"/>
              </a:ext>
            </a:extLst>
          </p:cNvPr>
          <p:cNvSpPr/>
          <p:nvPr/>
        </p:nvSpPr>
        <p:spPr>
          <a:xfrm>
            <a:off x="289723" y="2962324"/>
            <a:ext cx="1077957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t schema from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gres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45E8BCC2-B552-E0C8-4C4F-A216CEE39E2E}"/>
              </a:ext>
            </a:extLst>
          </p:cNvPr>
          <p:cNvSpPr/>
          <p:nvPr/>
        </p:nvSpPr>
        <p:spPr>
          <a:xfrm>
            <a:off x="289723" y="3900908"/>
            <a:ext cx="1077957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urn schema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Diamond 39">
            <a:extLst>
              <a:ext uri="{FF2B5EF4-FFF2-40B4-BE49-F238E27FC236}">
                <a16:creationId xmlns:a16="http://schemas.microsoft.com/office/drawing/2014/main" id="{DBCEFD7A-A3FE-1695-048A-EE9150DBB654}"/>
              </a:ext>
            </a:extLst>
          </p:cNvPr>
          <p:cNvSpPr/>
          <p:nvPr/>
        </p:nvSpPr>
        <p:spPr>
          <a:xfrm>
            <a:off x="1955457" y="3823266"/>
            <a:ext cx="1486051" cy="57531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 partition field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A1185C3A-41EC-B8BF-5CC6-D6D9E6E6B66C}"/>
              </a:ext>
            </a:extLst>
          </p:cNvPr>
          <p:cNvSpPr/>
          <p:nvPr/>
        </p:nvSpPr>
        <p:spPr>
          <a:xfrm>
            <a:off x="289723" y="4790247"/>
            <a:ext cx="1077957" cy="754600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table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partition 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BQ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7191EABC-1D05-FE67-71F2-E50E82BCB753}"/>
              </a:ext>
            </a:extLst>
          </p:cNvPr>
          <p:cNvSpPr/>
          <p:nvPr/>
        </p:nvSpPr>
        <p:spPr>
          <a:xfrm>
            <a:off x="2074908" y="4790247"/>
            <a:ext cx="1282004" cy="511425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table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out partition 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BQ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F4BBAB56-368C-340B-A09B-D6CAAF647AAB}"/>
              </a:ext>
            </a:extLst>
          </p:cNvPr>
          <p:cNvSpPr/>
          <p:nvPr/>
        </p:nvSpPr>
        <p:spPr>
          <a:xfrm>
            <a:off x="2079900" y="5668150"/>
            <a:ext cx="1273477" cy="511426"/>
          </a:xfrm>
          <a:prstGeom prst="roundRect">
            <a:avLst/>
          </a:prstGeom>
          <a:solidFill>
            <a:srgbClr val="EEEEEE"/>
          </a:solidFill>
          <a:ln>
            <a:solidFill>
              <a:srgbClr val="2552E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le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d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gQuery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9A3D9ABB-F927-D375-D122-C4F2D3BC17FF}"/>
              </a:ext>
            </a:extLst>
          </p:cNvPr>
          <p:cNvCxnSpPr>
            <a:cxnSpLocks/>
            <a:stCxn id="28" idx="6"/>
            <a:endCxn id="29" idx="1"/>
          </p:cNvCxnSpPr>
          <p:nvPr/>
        </p:nvCxnSpPr>
        <p:spPr>
          <a:xfrm flipV="1">
            <a:off x="1368023" y="2294747"/>
            <a:ext cx="826337" cy="2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0" name="Straight Arrow Connector 309">
            <a:extLst>
              <a:ext uri="{FF2B5EF4-FFF2-40B4-BE49-F238E27FC236}">
                <a16:creationId xmlns:a16="http://schemas.microsoft.com/office/drawing/2014/main" id="{9F14CCDC-8955-11A5-16D9-BAAD59C2B218}"/>
              </a:ext>
            </a:extLst>
          </p:cNvPr>
          <p:cNvCxnSpPr>
            <a:cxnSpLocks/>
            <a:stCxn id="44" idx="3"/>
            <a:endCxn id="87" idx="1"/>
          </p:cNvCxnSpPr>
          <p:nvPr/>
        </p:nvCxnSpPr>
        <p:spPr>
          <a:xfrm flipV="1">
            <a:off x="3353377" y="2309294"/>
            <a:ext cx="961073" cy="3614569"/>
          </a:xfrm>
          <a:prstGeom prst="bentConnector3">
            <a:avLst>
              <a:gd name="adj1" fmla="val 50000"/>
            </a:avLst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CDD21DDC-596F-2088-66A0-7DE019C0EEA9}"/>
              </a:ext>
            </a:extLst>
          </p:cNvPr>
          <p:cNvCxnSpPr>
            <a:cxnSpLocks/>
            <a:stCxn id="29" idx="2"/>
            <a:endCxn id="35" idx="0"/>
          </p:cNvCxnSpPr>
          <p:nvPr/>
        </p:nvCxnSpPr>
        <p:spPr>
          <a:xfrm>
            <a:off x="2733339" y="2504763"/>
            <a:ext cx="4580" cy="393182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1464AEE2-C833-8A39-C0F5-9A8D180AA6ED}"/>
              </a:ext>
            </a:extLst>
          </p:cNvPr>
          <p:cNvCxnSpPr>
            <a:cxnSpLocks/>
            <a:stCxn id="35" idx="1"/>
            <a:endCxn id="36" idx="3"/>
          </p:cNvCxnSpPr>
          <p:nvPr/>
        </p:nvCxnSpPr>
        <p:spPr>
          <a:xfrm flipH="1" flipV="1">
            <a:off x="1367680" y="3172340"/>
            <a:ext cx="627213" cy="13264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BC92DC42-9D34-42F9-CFF2-8573FC8B94C4}"/>
              </a:ext>
            </a:extLst>
          </p:cNvPr>
          <p:cNvCxnSpPr>
            <a:cxnSpLocks/>
            <a:stCxn id="36" idx="2"/>
            <a:endCxn id="37" idx="0"/>
          </p:cNvCxnSpPr>
          <p:nvPr/>
        </p:nvCxnSpPr>
        <p:spPr>
          <a:xfrm>
            <a:off x="828702" y="3382356"/>
            <a:ext cx="0" cy="518552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E6521BD1-EC6E-0D7A-A108-E4773CBB069E}"/>
              </a:ext>
            </a:extLst>
          </p:cNvPr>
          <p:cNvCxnSpPr>
            <a:cxnSpLocks/>
            <a:stCxn id="37" idx="3"/>
            <a:endCxn id="40" idx="1"/>
          </p:cNvCxnSpPr>
          <p:nvPr/>
        </p:nvCxnSpPr>
        <p:spPr>
          <a:xfrm>
            <a:off x="1367680" y="4110924"/>
            <a:ext cx="587777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8" name="Straight Arrow Connector 309">
            <a:extLst>
              <a:ext uri="{FF2B5EF4-FFF2-40B4-BE49-F238E27FC236}">
                <a16:creationId xmlns:a16="http://schemas.microsoft.com/office/drawing/2014/main" id="{CBE64F10-CCAA-E6CF-096D-DA8A8746ED35}"/>
              </a:ext>
            </a:extLst>
          </p:cNvPr>
          <p:cNvCxnSpPr>
            <a:cxnSpLocks/>
            <a:stCxn id="40" idx="2"/>
            <a:endCxn id="41" idx="0"/>
          </p:cNvCxnSpPr>
          <p:nvPr/>
        </p:nvCxnSpPr>
        <p:spPr>
          <a:xfrm rot="5400000">
            <a:off x="1567761" y="3659525"/>
            <a:ext cx="391664" cy="1869781"/>
          </a:xfrm>
          <a:prstGeom prst="bentConnector3">
            <a:avLst>
              <a:gd name="adj1" fmla="val 50000"/>
            </a:avLst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1" name="Straight Arrow Connector 309">
            <a:extLst>
              <a:ext uri="{FF2B5EF4-FFF2-40B4-BE49-F238E27FC236}">
                <a16:creationId xmlns:a16="http://schemas.microsoft.com/office/drawing/2014/main" id="{9F9EFF4E-5957-D14B-F3F6-E7EAB1F1CBC7}"/>
              </a:ext>
            </a:extLst>
          </p:cNvPr>
          <p:cNvCxnSpPr>
            <a:cxnSpLocks/>
            <a:stCxn id="40" idx="3"/>
            <a:endCxn id="43" idx="3"/>
          </p:cNvCxnSpPr>
          <p:nvPr/>
        </p:nvCxnSpPr>
        <p:spPr>
          <a:xfrm flipH="1">
            <a:off x="3356912" y="4110925"/>
            <a:ext cx="84596" cy="935035"/>
          </a:xfrm>
          <a:prstGeom prst="bentConnector3">
            <a:avLst>
              <a:gd name="adj1" fmla="val -270226"/>
            </a:avLst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4" name="Straight Arrow Connector 309">
            <a:extLst>
              <a:ext uri="{FF2B5EF4-FFF2-40B4-BE49-F238E27FC236}">
                <a16:creationId xmlns:a16="http://schemas.microsoft.com/office/drawing/2014/main" id="{675CFD16-E14E-8886-EF3B-A1AFA9E947A8}"/>
              </a:ext>
            </a:extLst>
          </p:cNvPr>
          <p:cNvCxnSpPr>
            <a:cxnSpLocks/>
            <a:stCxn id="41" idx="2"/>
            <a:endCxn id="44" idx="1"/>
          </p:cNvCxnSpPr>
          <p:nvPr/>
        </p:nvCxnSpPr>
        <p:spPr>
          <a:xfrm rot="16200000" flipH="1">
            <a:off x="1264793" y="5108756"/>
            <a:ext cx="379016" cy="1251198"/>
          </a:xfrm>
          <a:prstGeom prst="bentConnector2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B97C76F4-5AE1-8275-469E-16FD151E6B9B}"/>
              </a:ext>
            </a:extLst>
          </p:cNvPr>
          <p:cNvCxnSpPr>
            <a:cxnSpLocks/>
            <a:stCxn id="43" idx="2"/>
            <a:endCxn id="44" idx="0"/>
          </p:cNvCxnSpPr>
          <p:nvPr/>
        </p:nvCxnSpPr>
        <p:spPr>
          <a:xfrm>
            <a:off x="2715910" y="5301672"/>
            <a:ext cx="729" cy="366478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0" name="Oval 79">
            <a:extLst>
              <a:ext uri="{FF2B5EF4-FFF2-40B4-BE49-F238E27FC236}">
                <a16:creationId xmlns:a16="http://schemas.microsoft.com/office/drawing/2014/main" id="{82123F09-7250-AAD7-778B-FF892A30B1D6}"/>
              </a:ext>
            </a:extLst>
          </p:cNvPr>
          <p:cNvSpPr/>
          <p:nvPr/>
        </p:nvSpPr>
        <p:spPr>
          <a:xfrm>
            <a:off x="1700881" y="4457443"/>
            <a:ext cx="245087" cy="24508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7D558D73-7D33-0E24-6D94-21709B4C6BBE}"/>
              </a:ext>
            </a:extLst>
          </p:cNvPr>
          <p:cNvSpPr/>
          <p:nvPr/>
        </p:nvSpPr>
        <p:spPr>
          <a:xfrm>
            <a:off x="1638357" y="3034854"/>
            <a:ext cx="245087" cy="245087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7E8CC0F7-0ECB-D553-4819-7E4FF688F37E}"/>
              </a:ext>
            </a:extLst>
          </p:cNvPr>
          <p:cNvSpPr/>
          <p:nvPr/>
        </p:nvSpPr>
        <p:spPr>
          <a:xfrm>
            <a:off x="3550776" y="4453722"/>
            <a:ext cx="245087" cy="245087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89EEE000-7408-A359-708C-66E1C380826B}"/>
              </a:ext>
            </a:extLst>
          </p:cNvPr>
          <p:cNvSpPr/>
          <p:nvPr/>
        </p:nvSpPr>
        <p:spPr>
          <a:xfrm>
            <a:off x="4314450" y="2099278"/>
            <a:ext cx="1226268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tch data from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gre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les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9" name="Straight Arrow Connector 309">
            <a:extLst>
              <a:ext uri="{FF2B5EF4-FFF2-40B4-BE49-F238E27FC236}">
                <a16:creationId xmlns:a16="http://schemas.microsoft.com/office/drawing/2014/main" id="{9C8DD10F-3059-83BF-7BB6-A8E265994B73}"/>
              </a:ext>
            </a:extLst>
          </p:cNvPr>
          <p:cNvCxnSpPr>
            <a:cxnSpLocks/>
            <a:stCxn id="35" idx="3"/>
            <a:endCxn id="87" idx="1"/>
          </p:cNvCxnSpPr>
          <p:nvPr/>
        </p:nvCxnSpPr>
        <p:spPr>
          <a:xfrm flipV="1">
            <a:off x="3480944" y="2309294"/>
            <a:ext cx="833506" cy="876310"/>
          </a:xfrm>
          <a:prstGeom prst="bentConnector3">
            <a:avLst>
              <a:gd name="adj1" fmla="val 50000"/>
            </a:avLst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7" name="Diamond 96">
            <a:extLst>
              <a:ext uri="{FF2B5EF4-FFF2-40B4-BE49-F238E27FC236}">
                <a16:creationId xmlns:a16="http://schemas.microsoft.com/office/drawing/2014/main" id="{962F5FDF-8C11-3B3E-48BF-2C74A9386D79}"/>
              </a:ext>
            </a:extLst>
          </p:cNvPr>
          <p:cNvSpPr/>
          <p:nvPr/>
        </p:nvSpPr>
        <p:spPr>
          <a:xfrm>
            <a:off x="5920999" y="2021636"/>
            <a:ext cx="1486051" cy="57531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 incremental col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Rectangle: Rounded Corners 100">
            <a:extLst>
              <a:ext uri="{FF2B5EF4-FFF2-40B4-BE49-F238E27FC236}">
                <a16:creationId xmlns:a16="http://schemas.microsoft.com/office/drawing/2014/main" id="{7BECE683-DED0-93AB-1FCC-870702EEC5DF}"/>
              </a:ext>
            </a:extLst>
          </p:cNvPr>
          <p:cNvSpPr/>
          <p:nvPr/>
        </p:nvSpPr>
        <p:spPr>
          <a:xfrm>
            <a:off x="4314450" y="3061452"/>
            <a:ext cx="1226268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tch only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-1 data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2E2AAD50-4462-4F67-8AD9-27B92B082556}"/>
              </a:ext>
            </a:extLst>
          </p:cNvPr>
          <p:cNvSpPr/>
          <p:nvPr/>
        </p:nvSpPr>
        <p:spPr>
          <a:xfrm>
            <a:off x="6073080" y="3061452"/>
            <a:ext cx="1226268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tch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</a:t>
            </a:r>
          </a:p>
          <a:p>
            <a:pPr algn="ctr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SELECT  *)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884B1A1D-11F6-1F16-5CC9-18EF317FCA62}"/>
              </a:ext>
            </a:extLst>
          </p:cNvPr>
          <p:cNvSpPr/>
          <p:nvPr/>
        </p:nvSpPr>
        <p:spPr>
          <a:xfrm>
            <a:off x="4314450" y="3887645"/>
            <a:ext cx="1226268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urn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frame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DF)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Diamond 107">
            <a:extLst>
              <a:ext uri="{FF2B5EF4-FFF2-40B4-BE49-F238E27FC236}">
                <a16:creationId xmlns:a16="http://schemas.microsoft.com/office/drawing/2014/main" id="{F37A67E0-CC0C-1AAB-85E2-8C126DC9070A}"/>
              </a:ext>
            </a:extLst>
          </p:cNvPr>
          <p:cNvSpPr/>
          <p:nvPr/>
        </p:nvSpPr>
        <p:spPr>
          <a:xfrm>
            <a:off x="5920999" y="3823266"/>
            <a:ext cx="1486051" cy="57531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F NONE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EB08EE2F-E2B8-BDCF-266A-DAD540E96A29}"/>
              </a:ext>
            </a:extLst>
          </p:cNvPr>
          <p:cNvGrpSpPr/>
          <p:nvPr/>
        </p:nvGrpSpPr>
        <p:grpSpPr>
          <a:xfrm>
            <a:off x="6986184" y="4438825"/>
            <a:ext cx="509191" cy="327579"/>
            <a:chOff x="1834931" y="5649539"/>
            <a:chExt cx="596172" cy="383537"/>
          </a:xfrm>
        </p:grpSpPr>
        <p:sp>
          <p:nvSpPr>
            <p:cNvPr id="110" name="Rectangle: Rounded Corners 109">
              <a:extLst>
                <a:ext uri="{FF2B5EF4-FFF2-40B4-BE49-F238E27FC236}">
                  <a16:creationId xmlns:a16="http://schemas.microsoft.com/office/drawing/2014/main" id="{BAD6B740-66B6-2352-96EA-95C4EBF8672D}"/>
                </a:ext>
              </a:extLst>
            </p:cNvPr>
            <p:cNvSpPr/>
            <p:nvPr/>
          </p:nvSpPr>
          <p:spPr>
            <a:xfrm>
              <a:off x="1834931" y="5649539"/>
              <a:ext cx="596172" cy="378371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12" name="Picture 111">
              <a:extLst>
                <a:ext uri="{FF2B5EF4-FFF2-40B4-BE49-F238E27FC236}">
                  <a16:creationId xmlns:a16="http://schemas.microsoft.com/office/drawing/2014/main" id="{E8B8263A-1AC5-60E7-EA7D-9B93A7B63E8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5265" y="5654705"/>
              <a:ext cx="504107" cy="378371"/>
            </a:xfrm>
            <a:prstGeom prst="rect">
              <a:avLst/>
            </a:prstGeom>
          </p:spPr>
        </p:pic>
      </p:grpSp>
      <p:sp>
        <p:nvSpPr>
          <p:cNvPr id="113" name="Diamond 112">
            <a:extLst>
              <a:ext uri="{FF2B5EF4-FFF2-40B4-BE49-F238E27FC236}">
                <a16:creationId xmlns:a16="http://schemas.microsoft.com/office/drawing/2014/main" id="{C454F409-F017-BE38-94D2-E52BF971BD8F}"/>
              </a:ext>
            </a:extLst>
          </p:cNvPr>
          <p:cNvSpPr/>
          <p:nvPr/>
        </p:nvSpPr>
        <p:spPr>
          <a:xfrm>
            <a:off x="5920999" y="4802498"/>
            <a:ext cx="1486051" cy="57531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F Empty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8516437A-2BB2-E845-F24C-074124570B2F}"/>
              </a:ext>
            </a:extLst>
          </p:cNvPr>
          <p:cNvSpPr/>
          <p:nvPr/>
        </p:nvSpPr>
        <p:spPr>
          <a:xfrm>
            <a:off x="4351098" y="4880140"/>
            <a:ext cx="1226268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rt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f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son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: Rounded Corners 114">
            <a:extLst>
              <a:ext uri="{FF2B5EF4-FFF2-40B4-BE49-F238E27FC236}">
                <a16:creationId xmlns:a16="http://schemas.microsoft.com/office/drawing/2014/main" id="{E08BFEBE-4685-F23B-FCD5-4B517CFF7EE6}"/>
              </a:ext>
            </a:extLst>
          </p:cNvPr>
          <p:cNvSpPr/>
          <p:nvPr/>
        </p:nvSpPr>
        <p:spPr>
          <a:xfrm>
            <a:off x="5590197" y="5729435"/>
            <a:ext cx="1226268" cy="420032"/>
          </a:xfrm>
          <a:prstGeom prst="roundRect">
            <a:avLst/>
          </a:prstGeom>
          <a:solidFill>
            <a:srgbClr val="EEEEEE"/>
          </a:solidFill>
          <a:ln>
            <a:solidFill>
              <a:srgbClr val="2552E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sh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son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COM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BCF79089-37D4-F9AC-661F-384E42F19FDA}"/>
              </a:ext>
            </a:extLst>
          </p:cNvPr>
          <p:cNvCxnSpPr>
            <a:cxnSpLocks/>
            <a:stCxn id="87" idx="3"/>
            <a:endCxn id="97" idx="1"/>
          </p:cNvCxnSpPr>
          <p:nvPr/>
        </p:nvCxnSpPr>
        <p:spPr>
          <a:xfrm>
            <a:off x="5540718" y="2309294"/>
            <a:ext cx="380281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4" name="Straight Arrow Connector 309">
            <a:extLst>
              <a:ext uri="{FF2B5EF4-FFF2-40B4-BE49-F238E27FC236}">
                <a16:creationId xmlns:a16="http://schemas.microsoft.com/office/drawing/2014/main" id="{8390F273-CC32-BD53-0E60-C2EBE39188B8}"/>
              </a:ext>
            </a:extLst>
          </p:cNvPr>
          <p:cNvCxnSpPr>
            <a:cxnSpLocks/>
            <a:stCxn id="97" idx="2"/>
            <a:endCxn id="101" idx="0"/>
          </p:cNvCxnSpPr>
          <p:nvPr/>
        </p:nvCxnSpPr>
        <p:spPr>
          <a:xfrm rot="5400000">
            <a:off x="5563556" y="1960982"/>
            <a:ext cx="464499" cy="1736441"/>
          </a:xfrm>
          <a:prstGeom prst="bentConnector3">
            <a:avLst>
              <a:gd name="adj1" fmla="val 50000"/>
            </a:avLst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9FD43583-33DD-47AB-90CA-66329EC6ED67}"/>
              </a:ext>
            </a:extLst>
          </p:cNvPr>
          <p:cNvCxnSpPr>
            <a:cxnSpLocks/>
            <a:stCxn id="97" idx="2"/>
            <a:endCxn id="105" idx="0"/>
          </p:cNvCxnSpPr>
          <p:nvPr/>
        </p:nvCxnSpPr>
        <p:spPr>
          <a:xfrm>
            <a:off x="6664025" y="2596953"/>
            <a:ext cx="22189" cy="464499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BA3998E4-54F9-25B6-8D6A-58E41E5FE671}"/>
              </a:ext>
            </a:extLst>
          </p:cNvPr>
          <p:cNvCxnSpPr>
            <a:cxnSpLocks/>
            <a:stCxn id="101" idx="2"/>
            <a:endCxn id="106" idx="0"/>
          </p:cNvCxnSpPr>
          <p:nvPr/>
        </p:nvCxnSpPr>
        <p:spPr>
          <a:xfrm>
            <a:off x="4927584" y="3481484"/>
            <a:ext cx="0" cy="40616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5" name="Straight Arrow Connector 309">
            <a:extLst>
              <a:ext uri="{FF2B5EF4-FFF2-40B4-BE49-F238E27FC236}">
                <a16:creationId xmlns:a16="http://schemas.microsoft.com/office/drawing/2014/main" id="{5D0B1AC9-BA96-3196-3B1B-9E6B712D84FD}"/>
              </a:ext>
            </a:extLst>
          </p:cNvPr>
          <p:cNvCxnSpPr>
            <a:cxnSpLocks/>
            <a:stCxn id="105" idx="2"/>
            <a:endCxn id="106" idx="0"/>
          </p:cNvCxnSpPr>
          <p:nvPr/>
        </p:nvCxnSpPr>
        <p:spPr>
          <a:xfrm rot="5400000">
            <a:off x="5603819" y="2805249"/>
            <a:ext cx="406161" cy="1758630"/>
          </a:xfrm>
          <a:prstGeom prst="bentConnector3">
            <a:avLst>
              <a:gd name="adj1" fmla="val 50000"/>
            </a:avLst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40" name="Straight Arrow Connector 139">
            <a:extLst>
              <a:ext uri="{FF2B5EF4-FFF2-40B4-BE49-F238E27FC236}">
                <a16:creationId xmlns:a16="http://schemas.microsoft.com/office/drawing/2014/main" id="{58DAEF87-16F5-EA7E-1AB9-D52DA037470A}"/>
              </a:ext>
            </a:extLst>
          </p:cNvPr>
          <p:cNvCxnSpPr>
            <a:cxnSpLocks/>
            <a:stCxn id="106" idx="3"/>
            <a:endCxn id="108" idx="1"/>
          </p:cNvCxnSpPr>
          <p:nvPr/>
        </p:nvCxnSpPr>
        <p:spPr>
          <a:xfrm>
            <a:off x="5540718" y="4097661"/>
            <a:ext cx="380281" cy="13264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45" name="Straight Arrow Connector 309">
            <a:extLst>
              <a:ext uri="{FF2B5EF4-FFF2-40B4-BE49-F238E27FC236}">
                <a16:creationId xmlns:a16="http://schemas.microsoft.com/office/drawing/2014/main" id="{42A6D4EA-4469-63BE-EA51-B4E55102B9F0}"/>
              </a:ext>
            </a:extLst>
          </p:cNvPr>
          <p:cNvCxnSpPr>
            <a:cxnSpLocks/>
            <a:stCxn id="108" idx="3"/>
            <a:endCxn id="112" idx="3"/>
          </p:cNvCxnSpPr>
          <p:nvPr/>
        </p:nvCxnSpPr>
        <p:spPr>
          <a:xfrm>
            <a:off x="7407050" y="4110925"/>
            <a:ext cx="52682" cy="493896"/>
          </a:xfrm>
          <a:prstGeom prst="bentConnector3">
            <a:avLst>
              <a:gd name="adj1" fmla="val 533924"/>
            </a:avLst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0" name="Straight Arrow Connector 149">
            <a:extLst>
              <a:ext uri="{FF2B5EF4-FFF2-40B4-BE49-F238E27FC236}">
                <a16:creationId xmlns:a16="http://schemas.microsoft.com/office/drawing/2014/main" id="{2059FB42-376C-751E-E1BC-A1B861CA30E7}"/>
              </a:ext>
            </a:extLst>
          </p:cNvPr>
          <p:cNvCxnSpPr>
            <a:cxnSpLocks/>
            <a:stCxn id="108" idx="2"/>
            <a:endCxn id="113" idx="0"/>
          </p:cNvCxnSpPr>
          <p:nvPr/>
        </p:nvCxnSpPr>
        <p:spPr>
          <a:xfrm>
            <a:off x="6664025" y="4398583"/>
            <a:ext cx="0" cy="403915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CF3C0E21-778E-3D63-0FD4-3E0F972C5EB1}"/>
              </a:ext>
            </a:extLst>
          </p:cNvPr>
          <p:cNvCxnSpPr>
            <a:cxnSpLocks/>
            <a:stCxn id="113" idx="1"/>
            <a:endCxn id="114" idx="3"/>
          </p:cNvCxnSpPr>
          <p:nvPr/>
        </p:nvCxnSpPr>
        <p:spPr>
          <a:xfrm flipH="1" flipV="1">
            <a:off x="5577366" y="5090156"/>
            <a:ext cx="343633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6" name="Straight Arrow Connector 309">
            <a:extLst>
              <a:ext uri="{FF2B5EF4-FFF2-40B4-BE49-F238E27FC236}">
                <a16:creationId xmlns:a16="http://schemas.microsoft.com/office/drawing/2014/main" id="{A9B7E2FB-9DC3-7213-4512-DD407C31D862}"/>
              </a:ext>
            </a:extLst>
          </p:cNvPr>
          <p:cNvCxnSpPr>
            <a:cxnSpLocks/>
            <a:stCxn id="114" idx="2"/>
            <a:endCxn id="115" idx="1"/>
          </p:cNvCxnSpPr>
          <p:nvPr/>
        </p:nvCxnSpPr>
        <p:spPr>
          <a:xfrm rot="16200000" flipH="1">
            <a:off x="4957575" y="5306828"/>
            <a:ext cx="639279" cy="625965"/>
          </a:xfrm>
          <a:prstGeom prst="bentConnector2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2" name="Oval 91">
            <a:extLst>
              <a:ext uri="{FF2B5EF4-FFF2-40B4-BE49-F238E27FC236}">
                <a16:creationId xmlns:a16="http://schemas.microsoft.com/office/drawing/2014/main" id="{18455D02-E5E4-69A1-02D1-0E9555B06FC5}"/>
              </a:ext>
            </a:extLst>
          </p:cNvPr>
          <p:cNvSpPr/>
          <p:nvPr/>
        </p:nvSpPr>
        <p:spPr>
          <a:xfrm>
            <a:off x="5728075" y="2711992"/>
            <a:ext cx="245087" cy="24508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2AAF41DF-6CC8-4402-5E59-88C91ED1A007}"/>
              </a:ext>
            </a:extLst>
          </p:cNvPr>
          <p:cNvSpPr/>
          <p:nvPr/>
        </p:nvSpPr>
        <p:spPr>
          <a:xfrm>
            <a:off x="6558038" y="2672536"/>
            <a:ext cx="245087" cy="245087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5363AAFF-DE03-AD5E-4D53-58A9D4025F55}"/>
              </a:ext>
            </a:extLst>
          </p:cNvPr>
          <p:cNvSpPr/>
          <p:nvPr/>
        </p:nvSpPr>
        <p:spPr>
          <a:xfrm>
            <a:off x="7555382" y="4235329"/>
            <a:ext cx="245087" cy="24508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67B5F7C5-5ADE-D935-399A-78FDF5DED27E}"/>
              </a:ext>
            </a:extLst>
          </p:cNvPr>
          <p:cNvSpPr/>
          <p:nvPr/>
        </p:nvSpPr>
        <p:spPr>
          <a:xfrm>
            <a:off x="6548830" y="4453722"/>
            <a:ext cx="245087" cy="245087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5" name="Rectangle: Rounded Corners 174">
            <a:extLst>
              <a:ext uri="{FF2B5EF4-FFF2-40B4-BE49-F238E27FC236}">
                <a16:creationId xmlns:a16="http://schemas.microsoft.com/office/drawing/2014/main" id="{39E5D43F-90A2-CC32-82C0-5A62DFA39CEF}"/>
              </a:ext>
            </a:extLst>
          </p:cNvPr>
          <p:cNvSpPr/>
          <p:nvPr/>
        </p:nvSpPr>
        <p:spPr>
          <a:xfrm>
            <a:off x="8224262" y="2053184"/>
            <a:ext cx="1226268" cy="512221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ll attempt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son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rom XCOM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9" name="Diamond 178">
            <a:extLst>
              <a:ext uri="{FF2B5EF4-FFF2-40B4-BE49-F238E27FC236}">
                <a16:creationId xmlns:a16="http://schemas.microsoft.com/office/drawing/2014/main" id="{820C7A1F-39DA-1283-F025-ADE93AE22EE8}"/>
              </a:ext>
            </a:extLst>
          </p:cNvPr>
          <p:cNvSpPr/>
          <p:nvPr/>
        </p:nvSpPr>
        <p:spPr>
          <a:xfrm>
            <a:off x="9828494" y="2021636"/>
            <a:ext cx="1486051" cy="57531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SON found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9702598C-6A72-87CB-7C52-C6DF03A46CAC}"/>
              </a:ext>
            </a:extLst>
          </p:cNvPr>
          <p:cNvGrpSpPr/>
          <p:nvPr/>
        </p:nvGrpSpPr>
        <p:grpSpPr>
          <a:xfrm>
            <a:off x="11274832" y="2624248"/>
            <a:ext cx="509191" cy="327579"/>
            <a:chOff x="1834931" y="5649539"/>
            <a:chExt cx="596172" cy="383537"/>
          </a:xfrm>
        </p:grpSpPr>
        <p:sp>
          <p:nvSpPr>
            <p:cNvPr id="182" name="Rectangle: Rounded Corners 181">
              <a:extLst>
                <a:ext uri="{FF2B5EF4-FFF2-40B4-BE49-F238E27FC236}">
                  <a16:creationId xmlns:a16="http://schemas.microsoft.com/office/drawing/2014/main" id="{D5CF8FB8-5EF5-E19D-3393-2D49B0854F6F}"/>
                </a:ext>
              </a:extLst>
            </p:cNvPr>
            <p:cNvSpPr/>
            <p:nvPr/>
          </p:nvSpPr>
          <p:spPr>
            <a:xfrm>
              <a:off x="1834931" y="5649539"/>
              <a:ext cx="596172" cy="378371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83" name="Picture 182">
              <a:extLst>
                <a:ext uri="{FF2B5EF4-FFF2-40B4-BE49-F238E27FC236}">
                  <a16:creationId xmlns:a16="http://schemas.microsoft.com/office/drawing/2014/main" id="{53456127-6EA8-C81C-E017-2A85723AA26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5265" y="5654705"/>
              <a:ext cx="504107" cy="378371"/>
            </a:xfrm>
            <a:prstGeom prst="rect">
              <a:avLst/>
            </a:prstGeom>
          </p:spPr>
        </p:pic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89FD2B07-4FF0-30D5-E980-5C79AA9C3F8E}"/>
              </a:ext>
            </a:extLst>
          </p:cNvPr>
          <p:cNvSpPr/>
          <p:nvPr/>
        </p:nvSpPr>
        <p:spPr>
          <a:xfrm>
            <a:off x="9958385" y="3125313"/>
            <a:ext cx="1226268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rieve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SON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5" name="Rectangle: Rounded Corners 184">
            <a:extLst>
              <a:ext uri="{FF2B5EF4-FFF2-40B4-BE49-F238E27FC236}">
                <a16:creationId xmlns:a16="http://schemas.microsoft.com/office/drawing/2014/main" id="{9A910769-5778-93E3-6FCE-4CC0D74CAE14}"/>
              </a:ext>
            </a:extLst>
          </p:cNvPr>
          <p:cNvSpPr/>
          <p:nvPr/>
        </p:nvSpPr>
        <p:spPr>
          <a:xfrm>
            <a:off x="8221944" y="3125313"/>
            <a:ext cx="1226268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rt back to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F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0" name="Rectangle: Rounded Corners 189">
            <a:extLst>
              <a:ext uri="{FF2B5EF4-FFF2-40B4-BE49-F238E27FC236}">
                <a16:creationId xmlns:a16="http://schemas.microsoft.com/office/drawing/2014/main" id="{12DFC0CC-FAC0-0748-C2AF-B50A491E3CCD}"/>
              </a:ext>
            </a:extLst>
          </p:cNvPr>
          <p:cNvSpPr/>
          <p:nvPr/>
        </p:nvSpPr>
        <p:spPr>
          <a:xfrm>
            <a:off x="8221944" y="3973778"/>
            <a:ext cx="1226268" cy="575316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ad data 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orary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ging table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1" name="Rectangle: Rounded Corners 190">
            <a:extLst>
              <a:ext uri="{FF2B5EF4-FFF2-40B4-BE49-F238E27FC236}">
                <a16:creationId xmlns:a16="http://schemas.microsoft.com/office/drawing/2014/main" id="{2C96E413-60A4-CAE9-E7BC-60DB14B1F9E9}"/>
              </a:ext>
            </a:extLst>
          </p:cNvPr>
          <p:cNvSpPr/>
          <p:nvPr/>
        </p:nvSpPr>
        <p:spPr>
          <a:xfrm>
            <a:off x="9958385" y="3973778"/>
            <a:ext cx="1226268" cy="575316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ge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th the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get table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2" name="Rectangle: Rounded Corners 191">
            <a:extLst>
              <a:ext uri="{FF2B5EF4-FFF2-40B4-BE49-F238E27FC236}">
                <a16:creationId xmlns:a16="http://schemas.microsoft.com/office/drawing/2014/main" id="{F36A97C8-1D0D-E4E8-B856-23F2C5BCC32B}"/>
              </a:ext>
            </a:extLst>
          </p:cNvPr>
          <p:cNvSpPr/>
          <p:nvPr/>
        </p:nvSpPr>
        <p:spPr>
          <a:xfrm>
            <a:off x="9958385" y="4969531"/>
            <a:ext cx="1226268" cy="575316"/>
          </a:xfrm>
          <a:prstGeom prst="roundRect">
            <a:avLst/>
          </a:prstGeom>
          <a:solidFill>
            <a:srgbClr val="EEEEEE"/>
          </a:solidFill>
          <a:ln>
            <a:solidFill>
              <a:srgbClr val="2552E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staging/temporary table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6" name="Straight Arrow Connector 195">
            <a:extLst>
              <a:ext uri="{FF2B5EF4-FFF2-40B4-BE49-F238E27FC236}">
                <a16:creationId xmlns:a16="http://schemas.microsoft.com/office/drawing/2014/main" id="{A0519420-5F28-A946-73BD-4990846E6073}"/>
              </a:ext>
            </a:extLst>
          </p:cNvPr>
          <p:cNvCxnSpPr>
            <a:cxnSpLocks/>
            <a:stCxn id="175" idx="3"/>
            <a:endCxn id="179" idx="1"/>
          </p:cNvCxnSpPr>
          <p:nvPr/>
        </p:nvCxnSpPr>
        <p:spPr>
          <a:xfrm>
            <a:off x="9450530" y="2309295"/>
            <a:ext cx="377964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01" name="Straight Arrow Connector 200">
            <a:extLst>
              <a:ext uri="{FF2B5EF4-FFF2-40B4-BE49-F238E27FC236}">
                <a16:creationId xmlns:a16="http://schemas.microsoft.com/office/drawing/2014/main" id="{048BC48B-11D9-78E4-641A-68F4CD1A36D6}"/>
              </a:ext>
            </a:extLst>
          </p:cNvPr>
          <p:cNvCxnSpPr>
            <a:cxnSpLocks/>
          </p:cNvCxnSpPr>
          <p:nvPr/>
        </p:nvCxnSpPr>
        <p:spPr>
          <a:xfrm flipH="1">
            <a:off x="10560425" y="2596953"/>
            <a:ext cx="1" cy="52836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04" name="Straight Arrow Connector 309">
            <a:extLst>
              <a:ext uri="{FF2B5EF4-FFF2-40B4-BE49-F238E27FC236}">
                <a16:creationId xmlns:a16="http://schemas.microsoft.com/office/drawing/2014/main" id="{72BFC4F0-C971-1F3B-4C69-2EC3E4A49F27}"/>
              </a:ext>
            </a:extLst>
          </p:cNvPr>
          <p:cNvCxnSpPr>
            <a:cxnSpLocks/>
            <a:stCxn id="179" idx="3"/>
            <a:endCxn id="183" idx="0"/>
          </p:cNvCxnSpPr>
          <p:nvPr/>
        </p:nvCxnSpPr>
        <p:spPr>
          <a:xfrm>
            <a:off x="11314545" y="2309295"/>
            <a:ext cx="218556" cy="319365"/>
          </a:xfrm>
          <a:prstGeom prst="bentConnector2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08" name="Straight Arrow Connector 207">
            <a:extLst>
              <a:ext uri="{FF2B5EF4-FFF2-40B4-BE49-F238E27FC236}">
                <a16:creationId xmlns:a16="http://schemas.microsoft.com/office/drawing/2014/main" id="{6E2F94C3-B412-19D5-F020-ACDB52275697}"/>
              </a:ext>
            </a:extLst>
          </p:cNvPr>
          <p:cNvCxnSpPr>
            <a:cxnSpLocks/>
            <a:stCxn id="184" idx="1"/>
            <a:endCxn id="185" idx="3"/>
          </p:cNvCxnSpPr>
          <p:nvPr/>
        </p:nvCxnSpPr>
        <p:spPr>
          <a:xfrm flipH="1">
            <a:off x="9448212" y="3335329"/>
            <a:ext cx="510173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1" name="Straight Arrow Connector 210">
            <a:extLst>
              <a:ext uri="{FF2B5EF4-FFF2-40B4-BE49-F238E27FC236}">
                <a16:creationId xmlns:a16="http://schemas.microsoft.com/office/drawing/2014/main" id="{A33F4609-9751-B0B2-CE9D-A36426580187}"/>
              </a:ext>
            </a:extLst>
          </p:cNvPr>
          <p:cNvCxnSpPr>
            <a:cxnSpLocks/>
            <a:stCxn id="185" idx="2"/>
            <a:endCxn id="190" idx="0"/>
          </p:cNvCxnSpPr>
          <p:nvPr/>
        </p:nvCxnSpPr>
        <p:spPr>
          <a:xfrm>
            <a:off x="8835078" y="3545345"/>
            <a:ext cx="0" cy="428433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4" name="Straight Arrow Connector 213">
            <a:extLst>
              <a:ext uri="{FF2B5EF4-FFF2-40B4-BE49-F238E27FC236}">
                <a16:creationId xmlns:a16="http://schemas.microsoft.com/office/drawing/2014/main" id="{1B62FE89-1D10-EF2A-934C-37B30118300C}"/>
              </a:ext>
            </a:extLst>
          </p:cNvPr>
          <p:cNvCxnSpPr>
            <a:cxnSpLocks/>
            <a:stCxn id="190" idx="3"/>
            <a:endCxn id="191" idx="1"/>
          </p:cNvCxnSpPr>
          <p:nvPr/>
        </p:nvCxnSpPr>
        <p:spPr>
          <a:xfrm>
            <a:off x="9448212" y="4261436"/>
            <a:ext cx="510173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7" name="Straight Arrow Connector 216">
            <a:extLst>
              <a:ext uri="{FF2B5EF4-FFF2-40B4-BE49-F238E27FC236}">
                <a16:creationId xmlns:a16="http://schemas.microsoft.com/office/drawing/2014/main" id="{FD2B9C6B-07A5-73BA-7BEF-B85D83D84182}"/>
              </a:ext>
            </a:extLst>
          </p:cNvPr>
          <p:cNvCxnSpPr>
            <a:cxnSpLocks/>
          </p:cNvCxnSpPr>
          <p:nvPr/>
        </p:nvCxnSpPr>
        <p:spPr>
          <a:xfrm>
            <a:off x="10571519" y="4549094"/>
            <a:ext cx="0" cy="420437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20" name="Oval 219">
            <a:extLst>
              <a:ext uri="{FF2B5EF4-FFF2-40B4-BE49-F238E27FC236}">
                <a16:creationId xmlns:a16="http://schemas.microsoft.com/office/drawing/2014/main" id="{3B3E761B-95A0-F396-A0CF-C4C982A35A5E}"/>
              </a:ext>
            </a:extLst>
          </p:cNvPr>
          <p:cNvSpPr/>
          <p:nvPr/>
        </p:nvSpPr>
        <p:spPr>
          <a:xfrm>
            <a:off x="10089154" y="5864299"/>
            <a:ext cx="964731" cy="420043"/>
          </a:xfrm>
          <a:prstGeom prst="ellipse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1" name="Straight Arrow Connector 220">
            <a:extLst>
              <a:ext uri="{FF2B5EF4-FFF2-40B4-BE49-F238E27FC236}">
                <a16:creationId xmlns:a16="http://schemas.microsoft.com/office/drawing/2014/main" id="{8E4A85A7-4B1B-1573-2F4F-F6D97A05CF70}"/>
              </a:ext>
            </a:extLst>
          </p:cNvPr>
          <p:cNvCxnSpPr>
            <a:cxnSpLocks/>
          </p:cNvCxnSpPr>
          <p:nvPr/>
        </p:nvCxnSpPr>
        <p:spPr>
          <a:xfrm>
            <a:off x="10560351" y="5544847"/>
            <a:ext cx="1" cy="319452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28" name="Oval 227">
            <a:extLst>
              <a:ext uri="{FF2B5EF4-FFF2-40B4-BE49-F238E27FC236}">
                <a16:creationId xmlns:a16="http://schemas.microsoft.com/office/drawing/2014/main" id="{161F3443-76E6-EB2E-E517-FD2EBFC7B3BC}"/>
              </a:ext>
            </a:extLst>
          </p:cNvPr>
          <p:cNvSpPr/>
          <p:nvPr/>
        </p:nvSpPr>
        <p:spPr>
          <a:xfrm>
            <a:off x="11607650" y="2300738"/>
            <a:ext cx="245087" cy="245087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9" name="Oval 228">
            <a:extLst>
              <a:ext uri="{FF2B5EF4-FFF2-40B4-BE49-F238E27FC236}">
                <a16:creationId xmlns:a16="http://schemas.microsoft.com/office/drawing/2014/main" id="{936DD87D-77D3-6C3E-3B58-2C65E3BDF36E}"/>
              </a:ext>
            </a:extLst>
          </p:cNvPr>
          <p:cNvSpPr/>
          <p:nvPr/>
        </p:nvSpPr>
        <p:spPr>
          <a:xfrm>
            <a:off x="10448976" y="2703116"/>
            <a:ext cx="245087" cy="24508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0" name="Oval 229">
            <a:extLst>
              <a:ext uri="{FF2B5EF4-FFF2-40B4-BE49-F238E27FC236}">
                <a16:creationId xmlns:a16="http://schemas.microsoft.com/office/drawing/2014/main" id="{4043DBE2-7580-37F5-CDDD-CA0A696584D0}"/>
              </a:ext>
            </a:extLst>
          </p:cNvPr>
          <p:cNvSpPr/>
          <p:nvPr/>
        </p:nvSpPr>
        <p:spPr>
          <a:xfrm>
            <a:off x="3726886" y="2663145"/>
            <a:ext cx="245087" cy="24508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6" name="Straight Arrow Connector 309">
            <a:extLst>
              <a:ext uri="{FF2B5EF4-FFF2-40B4-BE49-F238E27FC236}">
                <a16:creationId xmlns:a16="http://schemas.microsoft.com/office/drawing/2014/main" id="{FDE0EB1B-0BB8-2BC0-818B-43F796ED13BB}"/>
              </a:ext>
            </a:extLst>
          </p:cNvPr>
          <p:cNvCxnSpPr>
            <a:cxnSpLocks/>
            <a:stCxn id="115" idx="3"/>
            <a:endCxn id="175" idx="1"/>
          </p:cNvCxnSpPr>
          <p:nvPr/>
        </p:nvCxnSpPr>
        <p:spPr>
          <a:xfrm flipV="1">
            <a:off x="6816465" y="2309295"/>
            <a:ext cx="1407797" cy="3630156"/>
          </a:xfrm>
          <a:prstGeom prst="bentConnector3">
            <a:avLst>
              <a:gd name="adj1" fmla="val 93958"/>
            </a:avLst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92" name="Oval 291">
            <a:extLst>
              <a:ext uri="{FF2B5EF4-FFF2-40B4-BE49-F238E27FC236}">
                <a16:creationId xmlns:a16="http://schemas.microsoft.com/office/drawing/2014/main" id="{7E04630C-D6F0-A91C-04D5-D5CB2175DEE1}"/>
              </a:ext>
            </a:extLst>
          </p:cNvPr>
          <p:cNvSpPr/>
          <p:nvPr/>
        </p:nvSpPr>
        <p:spPr>
          <a:xfrm>
            <a:off x="5652174" y="4967612"/>
            <a:ext cx="245087" cy="245087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3" name="Oval 292">
            <a:extLst>
              <a:ext uri="{FF2B5EF4-FFF2-40B4-BE49-F238E27FC236}">
                <a16:creationId xmlns:a16="http://schemas.microsoft.com/office/drawing/2014/main" id="{3E28CD92-E386-DB30-AD85-FAA152DD77BA}"/>
              </a:ext>
            </a:extLst>
          </p:cNvPr>
          <p:cNvSpPr/>
          <p:nvPr/>
        </p:nvSpPr>
        <p:spPr>
          <a:xfrm>
            <a:off x="7044285" y="5284530"/>
            <a:ext cx="964731" cy="420043"/>
          </a:xfrm>
          <a:prstGeom prst="ellipse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p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98" name="Straight Arrow Connector 309">
            <a:extLst>
              <a:ext uri="{FF2B5EF4-FFF2-40B4-BE49-F238E27FC236}">
                <a16:creationId xmlns:a16="http://schemas.microsoft.com/office/drawing/2014/main" id="{41C3E657-40C3-48EB-61F4-44D8D869A00D}"/>
              </a:ext>
            </a:extLst>
          </p:cNvPr>
          <p:cNvCxnSpPr>
            <a:cxnSpLocks/>
            <a:stCxn id="113" idx="3"/>
            <a:endCxn id="293" idx="0"/>
          </p:cNvCxnSpPr>
          <p:nvPr/>
        </p:nvCxnSpPr>
        <p:spPr>
          <a:xfrm>
            <a:off x="7407050" y="5090157"/>
            <a:ext cx="119601" cy="194373"/>
          </a:xfrm>
          <a:prstGeom prst="bentConnector2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986CA839-07BA-E1D0-0247-F12E24488154}"/>
              </a:ext>
            </a:extLst>
          </p:cNvPr>
          <p:cNvGrpSpPr/>
          <p:nvPr/>
        </p:nvGrpSpPr>
        <p:grpSpPr>
          <a:xfrm>
            <a:off x="10283354" y="6470881"/>
            <a:ext cx="1736750" cy="139126"/>
            <a:chOff x="9901276" y="6498754"/>
            <a:chExt cx="1736750" cy="139126"/>
          </a:xfrm>
        </p:grpSpPr>
        <p:sp>
          <p:nvSpPr>
            <p:cNvPr id="14" name="SlideLogoText">
              <a:extLst>
                <a:ext uri="{FF2B5EF4-FFF2-40B4-BE49-F238E27FC236}">
                  <a16:creationId xmlns:a16="http://schemas.microsoft.com/office/drawing/2014/main" id="{3BDBB7D1-550F-122E-B47E-77D443830395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9901276" y="6499381"/>
              <a:ext cx="1617430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5" name="Slide Number">
              <a:extLst>
                <a:ext uri="{FF2B5EF4-FFF2-40B4-BE49-F238E27FC236}">
                  <a16:creationId xmlns:a16="http://schemas.microsoft.com/office/drawing/2014/main" id="{BC447966-5589-C2A0-EE7C-A8CA15E9ACC8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8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14329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5892B8-BA76-0623-8247-B9A12C3AFF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126117D0-45FC-3329-05F0-444C345D5B04}"/>
              </a:ext>
            </a:extLst>
          </p:cNvPr>
          <p:cNvCxnSpPr>
            <a:cxnSpLocks/>
          </p:cNvCxnSpPr>
          <p:nvPr/>
        </p:nvCxnSpPr>
        <p:spPr>
          <a:xfrm>
            <a:off x="7716406" y="1804876"/>
            <a:ext cx="0" cy="4479466"/>
          </a:xfrm>
          <a:prstGeom prst="line">
            <a:avLst/>
          </a:prstGeom>
          <a:ln w="1270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B1B055B3-92CD-BFB9-386E-7F35DF57AD59}"/>
              </a:ext>
            </a:extLst>
          </p:cNvPr>
          <p:cNvCxnSpPr>
            <a:cxnSpLocks/>
          </p:cNvCxnSpPr>
          <p:nvPr/>
        </p:nvCxnSpPr>
        <p:spPr>
          <a:xfrm>
            <a:off x="4688958" y="1804876"/>
            <a:ext cx="0" cy="4479466"/>
          </a:xfrm>
          <a:prstGeom prst="line">
            <a:avLst/>
          </a:prstGeom>
          <a:ln w="1270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8AEC634F-6162-F93E-A928-9FAD1F61B2A4}"/>
              </a:ext>
            </a:extLst>
          </p:cNvPr>
          <p:cNvSpPr txBox="1"/>
          <p:nvPr/>
        </p:nvSpPr>
        <p:spPr>
          <a:xfrm>
            <a:off x="9367168" y="126364"/>
            <a:ext cx="2479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operty of Rizky Fajar Adity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C5942BD-9D29-0D4C-42AF-6A924A9276F0}"/>
              </a:ext>
            </a:extLst>
          </p:cNvPr>
          <p:cNvGrpSpPr/>
          <p:nvPr/>
        </p:nvGrpSpPr>
        <p:grpSpPr>
          <a:xfrm>
            <a:off x="345057" y="105878"/>
            <a:ext cx="4343901" cy="233680"/>
            <a:chOff x="314577" y="121920"/>
            <a:chExt cx="3116131" cy="233680"/>
          </a:xfrm>
        </p:grpSpPr>
        <p:sp>
          <p:nvSpPr>
            <p:cNvPr id="3" name="SlideLogoText">
              <a:extLst>
                <a:ext uri="{FF2B5EF4-FFF2-40B4-BE49-F238E27FC236}">
                  <a16:creationId xmlns:a16="http://schemas.microsoft.com/office/drawing/2014/main" id="{860BA0B9-5376-EF88-DE80-4C3E1AA3BFE8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black">
            <a:xfrm>
              <a:off x="314577" y="173344"/>
              <a:ext cx="14407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Data Engineering Program</a:t>
              </a:r>
            </a:p>
          </p:txBody>
        </p:sp>
        <p:sp>
          <p:nvSpPr>
            <p:cNvPr id="8" name="SlideLogoText">
              <a:extLst>
                <a:ext uri="{FF2B5EF4-FFF2-40B4-BE49-F238E27FC236}">
                  <a16:creationId xmlns:a16="http://schemas.microsoft.com/office/drawing/2014/main" id="{DE200CD4-3EF4-AAF4-DB01-F062B9562FF2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 bwMode="black">
            <a:xfrm>
              <a:off x="1562234" y="173344"/>
              <a:ext cx="186847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evelopment Cycle and Process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233FB0DC-1C14-8F3F-800C-A27EE74FCB53}"/>
                </a:ext>
              </a:extLst>
            </p:cNvPr>
            <p:cNvCxnSpPr/>
            <p:nvPr/>
          </p:nvCxnSpPr>
          <p:spPr>
            <a:xfrm>
              <a:off x="1400258" y="121920"/>
              <a:ext cx="0" cy="23368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DD5C436F-B4E7-AFE5-ADBC-12CEC611D0BC}"/>
              </a:ext>
            </a:extLst>
          </p:cNvPr>
          <p:cNvSpPr txBox="1"/>
          <p:nvPr/>
        </p:nvSpPr>
        <p:spPr>
          <a:xfrm>
            <a:off x="206943" y="478058"/>
            <a:ext cx="119850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latin typeface="Georgia" panose="02040502050405020303" pitchFamily="18" charset="0"/>
                <a:ea typeface="Tahoma" panose="020B0604030504040204" pitchFamily="34" charset="0"/>
              </a:rPr>
              <a:t>2</a:t>
            </a:r>
            <a:r>
              <a:rPr kumimoji="0" lang="en-US" sz="2400" b="1" i="0" strike="noStrike" kern="1200" cap="none" spc="0" normalizeH="0" baseline="30000" noProof="0" dirty="0" err="1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nd</a:t>
            </a:r>
            <a:r>
              <a:rPr kumimoji="0" lang="en-US" sz="24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Tahoma" panose="020B0604030504040204" pitchFamily="34" charset="0"/>
              </a:rPr>
              <a:t> project deliverable: Automation logic flow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EMprint" panose="020B0503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9B08F68-775A-411B-8A72-E42B90408A57}"/>
              </a:ext>
            </a:extLst>
          </p:cNvPr>
          <p:cNvCxnSpPr>
            <a:cxnSpLocks/>
          </p:cNvCxnSpPr>
          <p:nvPr/>
        </p:nvCxnSpPr>
        <p:spPr>
          <a:xfrm>
            <a:off x="300998" y="939723"/>
            <a:ext cx="11450129" cy="0"/>
          </a:xfrm>
          <a:prstGeom prst="line">
            <a:avLst/>
          </a:prstGeom>
          <a:ln>
            <a:solidFill>
              <a:srgbClr val="C1C1C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5142572-EEA1-A0BD-D671-D46452A63D9A}"/>
              </a:ext>
            </a:extLst>
          </p:cNvPr>
          <p:cNvSpPr/>
          <p:nvPr/>
        </p:nvSpPr>
        <p:spPr>
          <a:xfrm rot="16200000">
            <a:off x="5857183" y="-4503912"/>
            <a:ext cx="337762" cy="11450131"/>
          </a:xfrm>
          <a:prstGeom prst="roundRect">
            <a:avLst>
              <a:gd name="adj" fmla="val 7509"/>
            </a:avLst>
          </a:prstGeom>
          <a:gradFill flip="none" rotWithShape="1">
            <a:gsLst>
              <a:gs pos="0">
                <a:srgbClr val="051C39"/>
              </a:gs>
              <a:gs pos="100000">
                <a:srgbClr val="2552E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8899555-A08A-CD79-765A-F2A4A40CF749}"/>
              </a:ext>
            </a:extLst>
          </p:cNvPr>
          <p:cNvSpPr txBox="1"/>
          <p:nvPr/>
        </p:nvSpPr>
        <p:spPr>
          <a:xfrm>
            <a:off x="287907" y="1047566"/>
            <a:ext cx="11272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G_NAME: 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G3_dbt_run_dwh.py </a:t>
            </a: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OBJECTIVE: 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transformation for raw data to business-level data in DWH</a:t>
            </a:r>
            <a:endParaRPr lang="en-ID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B5374C44-93DE-8907-352C-FFA30CBD5796}"/>
              </a:ext>
            </a:extLst>
          </p:cNvPr>
          <p:cNvSpPr/>
          <p:nvPr/>
        </p:nvSpPr>
        <p:spPr>
          <a:xfrm>
            <a:off x="1662824" y="1457363"/>
            <a:ext cx="2893909" cy="337764"/>
          </a:xfrm>
          <a:prstGeom prst="roundRect">
            <a:avLst>
              <a:gd name="adj" fmla="val 7509"/>
            </a:avLst>
          </a:prstGeom>
          <a:noFill/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 1: </a:t>
            </a: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t_run_staging_models</a:t>
            </a:r>
            <a:endParaRPr lang="en-ID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842456F-ECEC-66EF-92E1-02F0A0160926}"/>
              </a:ext>
            </a:extLst>
          </p:cNvPr>
          <p:cNvSpPr/>
          <p:nvPr/>
        </p:nvSpPr>
        <p:spPr>
          <a:xfrm>
            <a:off x="4542669" y="1457363"/>
            <a:ext cx="2826771" cy="337764"/>
          </a:xfrm>
          <a:prstGeom prst="roundRect">
            <a:avLst>
              <a:gd name="adj" fmla="val 7509"/>
            </a:avLst>
          </a:prstGeom>
          <a:noFill/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 2: </a:t>
            </a: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t_run_facts_models</a:t>
            </a:r>
            <a:endParaRPr lang="en-ID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063C067-4CBF-8027-7FEA-D4B7889A6F5B}"/>
              </a:ext>
            </a:extLst>
          </p:cNvPr>
          <p:cNvCxnSpPr>
            <a:cxnSpLocks/>
          </p:cNvCxnSpPr>
          <p:nvPr/>
        </p:nvCxnSpPr>
        <p:spPr>
          <a:xfrm>
            <a:off x="4761218" y="1801366"/>
            <a:ext cx="291415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07547F6C-8C53-A26F-A4E9-64EFD676EAC4}"/>
              </a:ext>
            </a:extLst>
          </p:cNvPr>
          <p:cNvCxnSpPr>
            <a:cxnSpLocks/>
          </p:cNvCxnSpPr>
          <p:nvPr/>
        </p:nvCxnSpPr>
        <p:spPr>
          <a:xfrm>
            <a:off x="1795927" y="1801366"/>
            <a:ext cx="2848015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04" name="Group 403">
            <a:extLst>
              <a:ext uri="{FF2B5EF4-FFF2-40B4-BE49-F238E27FC236}">
                <a16:creationId xmlns:a16="http://schemas.microsoft.com/office/drawing/2014/main" id="{A4F9B5C8-FD47-93FE-D567-20CBCF89A25D}"/>
              </a:ext>
            </a:extLst>
          </p:cNvPr>
          <p:cNvGrpSpPr/>
          <p:nvPr/>
        </p:nvGrpSpPr>
        <p:grpSpPr>
          <a:xfrm>
            <a:off x="367575" y="6495090"/>
            <a:ext cx="866299" cy="223796"/>
            <a:chOff x="234026" y="6426622"/>
            <a:chExt cx="953105" cy="246221"/>
          </a:xfrm>
        </p:grpSpPr>
        <p:sp>
          <p:nvSpPr>
            <p:cNvPr id="394" name="Oval 393">
              <a:extLst>
                <a:ext uri="{FF2B5EF4-FFF2-40B4-BE49-F238E27FC236}">
                  <a16:creationId xmlns:a16="http://schemas.microsoft.com/office/drawing/2014/main" id="{29B4E04D-53E4-D52A-35EB-9FB0CB7489FB}"/>
                </a:ext>
              </a:extLst>
            </p:cNvPr>
            <p:cNvSpPr/>
            <p:nvPr/>
          </p:nvSpPr>
          <p:spPr>
            <a:xfrm>
              <a:off x="306026" y="6449427"/>
              <a:ext cx="216000" cy="21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</a:t>
              </a:r>
              <a:endParaRPr lang="en-ID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0" name="TextBox 399">
              <a:extLst>
                <a:ext uri="{FF2B5EF4-FFF2-40B4-BE49-F238E27FC236}">
                  <a16:creationId xmlns:a16="http://schemas.microsoft.com/office/drawing/2014/main" id="{5E1E4697-15FF-E7AD-2E54-1F9305618ACD}"/>
                </a:ext>
              </a:extLst>
            </p:cNvPr>
            <p:cNvSpPr txBox="1"/>
            <p:nvPr/>
          </p:nvSpPr>
          <p:spPr>
            <a:xfrm>
              <a:off x="234026" y="6426622"/>
              <a:ext cx="95310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es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05" name="Group 404">
            <a:extLst>
              <a:ext uri="{FF2B5EF4-FFF2-40B4-BE49-F238E27FC236}">
                <a16:creationId xmlns:a16="http://schemas.microsoft.com/office/drawing/2014/main" id="{4C8DCFF8-972F-BC53-76EA-0B82C933FBC6}"/>
              </a:ext>
            </a:extLst>
          </p:cNvPr>
          <p:cNvGrpSpPr/>
          <p:nvPr/>
        </p:nvGrpSpPr>
        <p:grpSpPr>
          <a:xfrm>
            <a:off x="992587" y="6495090"/>
            <a:ext cx="866299" cy="223796"/>
            <a:chOff x="1261221" y="6411327"/>
            <a:chExt cx="953105" cy="246221"/>
          </a:xfrm>
        </p:grpSpPr>
        <p:sp>
          <p:nvSpPr>
            <p:cNvPr id="395" name="Oval 394">
              <a:extLst>
                <a:ext uri="{FF2B5EF4-FFF2-40B4-BE49-F238E27FC236}">
                  <a16:creationId xmlns:a16="http://schemas.microsoft.com/office/drawing/2014/main" id="{1E4B2159-EDEB-B0B6-ADFA-1AD07381C645}"/>
                </a:ext>
              </a:extLst>
            </p:cNvPr>
            <p:cNvSpPr/>
            <p:nvPr/>
          </p:nvSpPr>
          <p:spPr>
            <a:xfrm>
              <a:off x="1367589" y="6440405"/>
              <a:ext cx="216000" cy="216000"/>
            </a:xfrm>
            <a:prstGeom prst="ellipse">
              <a:avLst/>
            </a:prstGeom>
            <a:solidFill>
              <a:srgbClr val="071F4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</a:t>
              </a:r>
              <a:endParaRPr lang="en-ID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2" name="TextBox 401">
              <a:extLst>
                <a:ext uri="{FF2B5EF4-FFF2-40B4-BE49-F238E27FC236}">
                  <a16:creationId xmlns:a16="http://schemas.microsoft.com/office/drawing/2014/main" id="{3E1CC2B7-7AEC-99F3-284D-D0597623ED2F}"/>
                </a:ext>
              </a:extLst>
            </p:cNvPr>
            <p:cNvSpPr txBox="1"/>
            <p:nvPr/>
          </p:nvSpPr>
          <p:spPr>
            <a:xfrm>
              <a:off x="1261221" y="6411327"/>
              <a:ext cx="95310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07" name="Group 406">
            <a:extLst>
              <a:ext uri="{FF2B5EF4-FFF2-40B4-BE49-F238E27FC236}">
                <a16:creationId xmlns:a16="http://schemas.microsoft.com/office/drawing/2014/main" id="{BF16815E-EC58-C03A-FA82-A6050964EBC8}"/>
              </a:ext>
            </a:extLst>
          </p:cNvPr>
          <p:cNvGrpSpPr/>
          <p:nvPr/>
        </p:nvGrpSpPr>
        <p:grpSpPr>
          <a:xfrm>
            <a:off x="1715801" y="6483878"/>
            <a:ext cx="2291133" cy="246221"/>
            <a:chOff x="2648707" y="6401937"/>
            <a:chExt cx="2520714" cy="270893"/>
          </a:xfrm>
        </p:grpSpPr>
        <p:grpSp>
          <p:nvGrpSpPr>
            <p:cNvPr id="397" name="Group 396">
              <a:extLst>
                <a:ext uri="{FF2B5EF4-FFF2-40B4-BE49-F238E27FC236}">
                  <a16:creationId xmlns:a16="http://schemas.microsoft.com/office/drawing/2014/main" id="{49EDA10B-5F7F-1A6B-D395-42221E0B0764}"/>
                </a:ext>
              </a:extLst>
            </p:cNvPr>
            <p:cNvGrpSpPr/>
            <p:nvPr/>
          </p:nvGrpSpPr>
          <p:grpSpPr>
            <a:xfrm>
              <a:off x="2648707" y="6435587"/>
              <a:ext cx="360000" cy="216000"/>
              <a:chOff x="1834931" y="5649539"/>
              <a:chExt cx="596172" cy="383537"/>
            </a:xfrm>
          </p:grpSpPr>
          <p:sp>
            <p:nvSpPr>
              <p:cNvPr id="398" name="Rectangle: Rounded Corners 397">
                <a:extLst>
                  <a:ext uri="{FF2B5EF4-FFF2-40B4-BE49-F238E27FC236}">
                    <a16:creationId xmlns:a16="http://schemas.microsoft.com/office/drawing/2014/main" id="{007D7B0A-89D8-CBFE-F807-D45EC7A36808}"/>
                  </a:ext>
                </a:extLst>
              </p:cNvPr>
              <p:cNvSpPr/>
              <p:nvPr/>
            </p:nvSpPr>
            <p:spPr>
              <a:xfrm>
                <a:off x="1834931" y="5649539"/>
                <a:ext cx="596172" cy="378371"/>
              </a:xfrm>
              <a:prstGeom prst="roundRect">
                <a:avLst/>
              </a:prstGeom>
              <a:solidFill>
                <a:srgbClr val="EEEEEE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1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399" name="Picture 398">
                <a:extLst>
                  <a:ext uri="{FF2B5EF4-FFF2-40B4-BE49-F238E27FC236}">
                    <a16:creationId xmlns:a16="http://schemas.microsoft.com/office/drawing/2014/main" id="{9DE61390-2AFB-1167-7186-43F9D6B1F5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85265" y="5654705"/>
                <a:ext cx="504107" cy="378371"/>
              </a:xfrm>
              <a:prstGeom prst="rect">
                <a:avLst/>
              </a:prstGeom>
            </p:spPr>
          </p:pic>
        </p:grpSp>
        <p:sp>
          <p:nvSpPr>
            <p:cNvPr id="403" name="TextBox 402">
              <a:extLst>
                <a:ext uri="{FF2B5EF4-FFF2-40B4-BE49-F238E27FC236}">
                  <a16:creationId xmlns:a16="http://schemas.microsoft.com/office/drawing/2014/main" id="{38C75BDD-B75B-7DCA-DA22-AAA97C9588C6}"/>
                </a:ext>
              </a:extLst>
            </p:cNvPr>
            <p:cNvSpPr txBox="1"/>
            <p:nvPr/>
          </p:nvSpPr>
          <p:spPr>
            <a:xfrm>
              <a:off x="2876500" y="6401937"/>
              <a:ext cx="2292921" cy="2708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nd error/retry alert to discord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21" name="Group 420">
            <a:extLst>
              <a:ext uri="{FF2B5EF4-FFF2-40B4-BE49-F238E27FC236}">
                <a16:creationId xmlns:a16="http://schemas.microsoft.com/office/drawing/2014/main" id="{75170868-9E74-4009-E74C-3918F3E0E5AF}"/>
              </a:ext>
            </a:extLst>
          </p:cNvPr>
          <p:cNvGrpSpPr/>
          <p:nvPr/>
        </p:nvGrpSpPr>
        <p:grpSpPr>
          <a:xfrm>
            <a:off x="3974480" y="6483878"/>
            <a:ext cx="1717312" cy="246221"/>
            <a:chOff x="4873325" y="6463091"/>
            <a:chExt cx="1889394" cy="270893"/>
          </a:xfrm>
        </p:grpSpPr>
        <p:sp>
          <p:nvSpPr>
            <p:cNvPr id="419" name="Rectangle: Rounded Corners 418">
              <a:extLst>
                <a:ext uri="{FF2B5EF4-FFF2-40B4-BE49-F238E27FC236}">
                  <a16:creationId xmlns:a16="http://schemas.microsoft.com/office/drawing/2014/main" id="{7F28F3CA-1E36-239E-B0E9-47B5C3247B87}"/>
                </a:ext>
              </a:extLst>
            </p:cNvPr>
            <p:cNvSpPr/>
            <p:nvPr/>
          </p:nvSpPr>
          <p:spPr>
            <a:xfrm>
              <a:off x="4873325" y="6491993"/>
              <a:ext cx="353902" cy="208705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2552E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2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0" name="TextBox 419">
              <a:extLst>
                <a:ext uri="{FF2B5EF4-FFF2-40B4-BE49-F238E27FC236}">
                  <a16:creationId xmlns:a16="http://schemas.microsoft.com/office/drawing/2014/main" id="{1A6A3E76-E1EA-940D-CAC6-12267D069D9F}"/>
                </a:ext>
              </a:extLst>
            </p:cNvPr>
            <p:cNvSpPr txBox="1"/>
            <p:nvPr/>
          </p:nvSpPr>
          <p:spPr>
            <a:xfrm>
              <a:off x="5149553" y="6463091"/>
              <a:ext cx="1613166" cy="2708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st process in a task</a:t>
              </a:r>
              <a:endParaRPr lang="en-ID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68667A1-A1A9-8B41-1163-74D393BA846A}"/>
              </a:ext>
            </a:extLst>
          </p:cNvPr>
          <p:cNvSpPr/>
          <p:nvPr/>
        </p:nvSpPr>
        <p:spPr>
          <a:xfrm>
            <a:off x="7695512" y="1451466"/>
            <a:ext cx="2689191" cy="337764"/>
          </a:xfrm>
          <a:prstGeom prst="roundRect">
            <a:avLst>
              <a:gd name="adj" fmla="val 7509"/>
            </a:avLst>
          </a:prstGeom>
          <a:noFill/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 3: </a:t>
            </a: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t_run_marts_models</a:t>
            </a:r>
            <a:endParaRPr lang="en-ID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983B312-AA78-2E1A-598D-7B1410A4F51B}"/>
              </a:ext>
            </a:extLst>
          </p:cNvPr>
          <p:cNvCxnSpPr>
            <a:cxnSpLocks/>
          </p:cNvCxnSpPr>
          <p:nvPr/>
        </p:nvCxnSpPr>
        <p:spPr>
          <a:xfrm>
            <a:off x="7800469" y="1795127"/>
            <a:ext cx="3950658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A942E38F-F03D-AD91-BC65-E7E63AC2D691}"/>
              </a:ext>
            </a:extLst>
          </p:cNvPr>
          <p:cNvSpPr/>
          <p:nvPr/>
        </p:nvSpPr>
        <p:spPr>
          <a:xfrm>
            <a:off x="413931" y="1903760"/>
            <a:ext cx="964731" cy="420043"/>
          </a:xfrm>
          <a:prstGeom prst="ellipse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B505345-BD1B-F890-A795-F5257183AAC6}"/>
              </a:ext>
            </a:extLst>
          </p:cNvPr>
          <p:cNvSpPr/>
          <p:nvPr/>
        </p:nvSpPr>
        <p:spPr>
          <a:xfrm>
            <a:off x="-550657" y="1457363"/>
            <a:ext cx="2893909" cy="337764"/>
          </a:xfrm>
          <a:prstGeom prst="roundRect">
            <a:avLst>
              <a:gd name="adj" fmla="val 7509"/>
            </a:avLst>
          </a:prstGeom>
          <a:noFill/>
          <a:ln>
            <a:noFill/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requisite:</a:t>
            </a:r>
            <a:endParaRPr lang="en-ID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168D313-2DB8-EBBC-2E1C-116D0D0215CB}"/>
              </a:ext>
            </a:extLst>
          </p:cNvPr>
          <p:cNvCxnSpPr>
            <a:cxnSpLocks/>
          </p:cNvCxnSpPr>
          <p:nvPr/>
        </p:nvCxnSpPr>
        <p:spPr>
          <a:xfrm>
            <a:off x="319419" y="1801366"/>
            <a:ext cx="1396382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482B37A-D698-1420-0EF1-DF7C9A972B99}"/>
              </a:ext>
            </a:extLst>
          </p:cNvPr>
          <p:cNvCxnSpPr>
            <a:cxnSpLocks/>
          </p:cNvCxnSpPr>
          <p:nvPr/>
        </p:nvCxnSpPr>
        <p:spPr>
          <a:xfrm>
            <a:off x="1743427" y="1804876"/>
            <a:ext cx="0" cy="4479466"/>
          </a:xfrm>
          <a:prstGeom prst="line">
            <a:avLst/>
          </a:prstGeom>
          <a:ln w="12700">
            <a:solidFill>
              <a:srgbClr val="D9D9D9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C891F68C-9D5B-A7E8-E2BA-B18AD50BC2A7}"/>
              </a:ext>
            </a:extLst>
          </p:cNvPr>
          <p:cNvSpPr/>
          <p:nvPr/>
        </p:nvSpPr>
        <p:spPr>
          <a:xfrm>
            <a:off x="357318" y="2463570"/>
            <a:ext cx="1077957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t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sing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ker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E291BFB9-088F-5133-D962-6A4761A36BA3}"/>
              </a:ext>
            </a:extLst>
          </p:cNvPr>
          <p:cNvSpPr/>
          <p:nvPr/>
        </p:nvSpPr>
        <p:spPr>
          <a:xfrm>
            <a:off x="357318" y="3008266"/>
            <a:ext cx="1077957" cy="541408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ting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gQuery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ndetials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202D958-C866-1CFC-7555-BF61CD851C88}"/>
              </a:ext>
            </a:extLst>
          </p:cNvPr>
          <p:cNvSpPr/>
          <p:nvPr/>
        </p:nvSpPr>
        <p:spPr>
          <a:xfrm>
            <a:off x="357318" y="3743177"/>
            <a:ext cx="1077957" cy="541408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ting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es.yml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C2EB991D-7477-30D0-CE5B-70E32866D6BD}"/>
              </a:ext>
            </a:extLst>
          </p:cNvPr>
          <p:cNvSpPr/>
          <p:nvPr/>
        </p:nvSpPr>
        <p:spPr>
          <a:xfrm>
            <a:off x="357318" y="4481718"/>
            <a:ext cx="1077957" cy="541408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ting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t_project.yml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B0F06AA6-36A7-B29A-40E7-632EEC6CEF37}"/>
              </a:ext>
            </a:extLst>
          </p:cNvPr>
          <p:cNvSpPr/>
          <p:nvPr/>
        </p:nvSpPr>
        <p:spPr>
          <a:xfrm>
            <a:off x="357318" y="5231162"/>
            <a:ext cx="1077957" cy="541408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ting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cros 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s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16FBBFB2-915C-2C4C-FD9C-D0EBD1821DAE}"/>
              </a:ext>
            </a:extLst>
          </p:cNvPr>
          <p:cNvSpPr/>
          <p:nvPr/>
        </p:nvSpPr>
        <p:spPr>
          <a:xfrm>
            <a:off x="413931" y="5918277"/>
            <a:ext cx="964731" cy="420043"/>
          </a:xfrm>
          <a:prstGeom prst="ellipse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49B8530E-8782-1F6F-462C-B099104ECC70}"/>
              </a:ext>
            </a:extLst>
          </p:cNvPr>
          <p:cNvCxnSpPr>
            <a:cxnSpLocks/>
          </p:cNvCxnSpPr>
          <p:nvPr/>
        </p:nvCxnSpPr>
        <p:spPr>
          <a:xfrm>
            <a:off x="890977" y="2323803"/>
            <a:ext cx="0" cy="139767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E03D9779-DC05-81C8-2426-BFDFE36D70F2}"/>
              </a:ext>
            </a:extLst>
          </p:cNvPr>
          <p:cNvCxnSpPr>
            <a:cxnSpLocks/>
          </p:cNvCxnSpPr>
          <p:nvPr/>
        </p:nvCxnSpPr>
        <p:spPr>
          <a:xfrm>
            <a:off x="896296" y="2883602"/>
            <a:ext cx="0" cy="124664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AE28C03E-E266-2C35-60EB-FDDF46B35941}"/>
              </a:ext>
            </a:extLst>
          </p:cNvPr>
          <p:cNvCxnSpPr>
            <a:cxnSpLocks/>
          </p:cNvCxnSpPr>
          <p:nvPr/>
        </p:nvCxnSpPr>
        <p:spPr>
          <a:xfrm>
            <a:off x="896296" y="3549674"/>
            <a:ext cx="0" cy="193503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F65A2598-2BA5-FC7D-69A3-713A07B57D66}"/>
              </a:ext>
            </a:extLst>
          </p:cNvPr>
          <p:cNvCxnSpPr>
            <a:cxnSpLocks/>
          </p:cNvCxnSpPr>
          <p:nvPr/>
        </p:nvCxnSpPr>
        <p:spPr>
          <a:xfrm>
            <a:off x="896296" y="4284585"/>
            <a:ext cx="0" cy="197133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74AB3F6F-FDC2-7194-AE78-3F2D2FDF320E}"/>
              </a:ext>
            </a:extLst>
          </p:cNvPr>
          <p:cNvCxnSpPr>
            <a:cxnSpLocks/>
          </p:cNvCxnSpPr>
          <p:nvPr/>
        </p:nvCxnSpPr>
        <p:spPr>
          <a:xfrm>
            <a:off x="896296" y="5023126"/>
            <a:ext cx="0" cy="208036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E23878EB-B1B3-B989-7EF5-B2970567F07D}"/>
              </a:ext>
            </a:extLst>
          </p:cNvPr>
          <p:cNvCxnSpPr>
            <a:cxnSpLocks/>
          </p:cNvCxnSpPr>
          <p:nvPr/>
        </p:nvCxnSpPr>
        <p:spPr>
          <a:xfrm>
            <a:off x="890977" y="5772570"/>
            <a:ext cx="0" cy="145707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6" name="Oval 65">
            <a:extLst>
              <a:ext uri="{FF2B5EF4-FFF2-40B4-BE49-F238E27FC236}">
                <a16:creationId xmlns:a16="http://schemas.microsoft.com/office/drawing/2014/main" id="{35528F14-DAC8-F0E7-3A6B-A1076306B464}"/>
              </a:ext>
            </a:extLst>
          </p:cNvPr>
          <p:cNvSpPr/>
          <p:nvPr/>
        </p:nvSpPr>
        <p:spPr>
          <a:xfrm>
            <a:off x="1883556" y="1903760"/>
            <a:ext cx="964731" cy="420043"/>
          </a:xfrm>
          <a:prstGeom prst="ellipse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A6CAB0B8-2AA1-DBF5-8A44-F380E67A28D9}"/>
              </a:ext>
            </a:extLst>
          </p:cNvPr>
          <p:cNvSpPr/>
          <p:nvPr/>
        </p:nvSpPr>
        <p:spPr>
          <a:xfrm>
            <a:off x="3166322" y="1903771"/>
            <a:ext cx="1077957" cy="420032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ok for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es.yml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Diamond 69">
            <a:extLst>
              <a:ext uri="{FF2B5EF4-FFF2-40B4-BE49-F238E27FC236}">
                <a16:creationId xmlns:a16="http://schemas.microsoft.com/office/drawing/2014/main" id="{1BB2EB5C-7A46-BD7E-D9A6-81F5455439F6}"/>
              </a:ext>
            </a:extLst>
          </p:cNvPr>
          <p:cNvSpPr/>
          <p:nvPr/>
        </p:nvSpPr>
        <p:spPr>
          <a:xfrm>
            <a:off x="2972180" y="2621913"/>
            <a:ext cx="1466241" cy="52337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es found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6FDE58B4-EA3F-BDFB-3341-75BBC5A8CB0B}"/>
              </a:ext>
            </a:extLst>
          </p:cNvPr>
          <p:cNvGrpSpPr/>
          <p:nvPr/>
        </p:nvGrpSpPr>
        <p:grpSpPr>
          <a:xfrm>
            <a:off x="2181781" y="2719812"/>
            <a:ext cx="509191" cy="327579"/>
            <a:chOff x="1834931" y="5649539"/>
            <a:chExt cx="596172" cy="383537"/>
          </a:xfrm>
        </p:grpSpPr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C88F04C2-3773-481B-2A1B-914CA8CD480A}"/>
                </a:ext>
              </a:extLst>
            </p:cNvPr>
            <p:cNvSpPr/>
            <p:nvPr/>
          </p:nvSpPr>
          <p:spPr>
            <a:xfrm>
              <a:off x="1834931" y="5649539"/>
              <a:ext cx="596172" cy="378371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4DC102C6-26D9-5AC9-A427-A273EDDDDE2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5265" y="5654705"/>
              <a:ext cx="504107" cy="378371"/>
            </a:xfrm>
            <a:prstGeom prst="rect">
              <a:avLst/>
            </a:prstGeom>
          </p:spPr>
        </p:pic>
      </p:grp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F070C88C-F93F-7E83-48BD-8859EACEB826}"/>
              </a:ext>
            </a:extLst>
          </p:cNvPr>
          <p:cNvSpPr/>
          <p:nvPr/>
        </p:nvSpPr>
        <p:spPr>
          <a:xfrm>
            <a:off x="3166322" y="3586200"/>
            <a:ext cx="1077957" cy="588636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ok for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t_project.yml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Diamond 77">
            <a:extLst>
              <a:ext uri="{FF2B5EF4-FFF2-40B4-BE49-F238E27FC236}">
                <a16:creationId xmlns:a16="http://schemas.microsoft.com/office/drawing/2014/main" id="{13EB3505-FBAE-3382-0619-81D4C3E4B0D7}"/>
              </a:ext>
            </a:extLst>
          </p:cNvPr>
          <p:cNvSpPr/>
          <p:nvPr/>
        </p:nvSpPr>
        <p:spPr>
          <a:xfrm>
            <a:off x="1822000" y="3618830"/>
            <a:ext cx="1228752" cy="52337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und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935C565F-20C0-34F7-A656-55D3CCF0E3FB}"/>
              </a:ext>
            </a:extLst>
          </p:cNvPr>
          <p:cNvSpPr/>
          <p:nvPr/>
        </p:nvSpPr>
        <p:spPr>
          <a:xfrm>
            <a:off x="1897398" y="4491590"/>
            <a:ext cx="1077957" cy="588636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ok for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s/staging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Diamond 82">
            <a:extLst>
              <a:ext uri="{FF2B5EF4-FFF2-40B4-BE49-F238E27FC236}">
                <a16:creationId xmlns:a16="http://schemas.microsoft.com/office/drawing/2014/main" id="{3B6E35FF-16DB-DD76-508B-3E0CA1764D92}"/>
              </a:ext>
            </a:extLst>
          </p:cNvPr>
          <p:cNvSpPr/>
          <p:nvPr/>
        </p:nvSpPr>
        <p:spPr>
          <a:xfrm>
            <a:off x="3090924" y="4524220"/>
            <a:ext cx="1228752" cy="52337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und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A10A4F7F-E622-5E1E-2E14-3C3C776C88EB}"/>
              </a:ext>
            </a:extLst>
          </p:cNvPr>
          <p:cNvGrpSpPr/>
          <p:nvPr/>
        </p:nvGrpSpPr>
        <p:grpSpPr>
          <a:xfrm>
            <a:off x="4102762" y="4267894"/>
            <a:ext cx="509191" cy="327579"/>
            <a:chOff x="1834931" y="5649539"/>
            <a:chExt cx="596172" cy="383537"/>
          </a:xfrm>
        </p:grpSpPr>
        <p:sp>
          <p:nvSpPr>
            <p:cNvPr id="85" name="Rectangle: Rounded Corners 84">
              <a:extLst>
                <a:ext uri="{FF2B5EF4-FFF2-40B4-BE49-F238E27FC236}">
                  <a16:creationId xmlns:a16="http://schemas.microsoft.com/office/drawing/2014/main" id="{0DCA8195-7F7F-55EC-2D36-8DD24828406D}"/>
                </a:ext>
              </a:extLst>
            </p:cNvPr>
            <p:cNvSpPr/>
            <p:nvPr/>
          </p:nvSpPr>
          <p:spPr>
            <a:xfrm>
              <a:off x="1834931" y="5649539"/>
              <a:ext cx="596172" cy="378371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8CA5A110-8EAB-2E5D-14DF-A209FAB7A50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5265" y="5654705"/>
              <a:ext cx="504107" cy="378371"/>
            </a:xfrm>
            <a:prstGeom prst="rect">
              <a:avLst/>
            </a:prstGeom>
          </p:spPr>
        </p:pic>
      </p:grp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A7A8CA06-DD96-7984-09D7-4CDB03E7CB0B}"/>
              </a:ext>
            </a:extLst>
          </p:cNvPr>
          <p:cNvSpPr/>
          <p:nvPr/>
        </p:nvSpPr>
        <p:spPr>
          <a:xfrm>
            <a:off x="3166322" y="5516754"/>
            <a:ext cx="1077957" cy="588636"/>
          </a:xfrm>
          <a:prstGeom prst="roundRect">
            <a:avLst/>
          </a:prstGeom>
          <a:solidFill>
            <a:srgbClr val="EEEEEE"/>
          </a:solidFill>
          <a:ln>
            <a:solidFill>
              <a:srgbClr val="2552E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n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t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dels/staging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91CBCCBD-BE18-8C93-9004-F416C7E34C94}"/>
              </a:ext>
            </a:extLst>
          </p:cNvPr>
          <p:cNvCxnSpPr>
            <a:cxnSpLocks/>
            <a:stCxn id="66" idx="6"/>
            <a:endCxn id="67" idx="1"/>
          </p:cNvCxnSpPr>
          <p:nvPr/>
        </p:nvCxnSpPr>
        <p:spPr>
          <a:xfrm>
            <a:off x="2848287" y="2113782"/>
            <a:ext cx="318035" cy="5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A06D2A74-2827-77F6-10E5-0DACFC59E40A}"/>
              </a:ext>
            </a:extLst>
          </p:cNvPr>
          <p:cNvCxnSpPr>
            <a:cxnSpLocks/>
            <a:stCxn id="67" idx="2"/>
            <a:endCxn id="70" idx="0"/>
          </p:cNvCxnSpPr>
          <p:nvPr/>
        </p:nvCxnSpPr>
        <p:spPr>
          <a:xfrm>
            <a:off x="3705301" y="2323803"/>
            <a:ext cx="0" cy="29811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02FB1E29-4A3A-9CAD-B3B9-20B7A001C691}"/>
              </a:ext>
            </a:extLst>
          </p:cNvPr>
          <p:cNvCxnSpPr>
            <a:cxnSpLocks/>
            <a:stCxn id="70" idx="1"/>
            <a:endCxn id="75" idx="3"/>
          </p:cNvCxnSpPr>
          <p:nvPr/>
        </p:nvCxnSpPr>
        <p:spPr>
          <a:xfrm flipH="1">
            <a:off x="2655329" y="2883602"/>
            <a:ext cx="316851" cy="2206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id="{A31376FF-BE59-CBD9-267A-39F8E4BCF756}"/>
              </a:ext>
            </a:extLst>
          </p:cNvPr>
          <p:cNvCxnSpPr>
            <a:cxnSpLocks/>
            <a:stCxn id="76" idx="1"/>
            <a:endCxn id="78" idx="3"/>
          </p:cNvCxnSpPr>
          <p:nvPr/>
        </p:nvCxnSpPr>
        <p:spPr>
          <a:xfrm flipH="1">
            <a:off x="3050752" y="3880518"/>
            <a:ext cx="115570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1A448DFE-2649-8880-E540-5BA584D9EDB5}"/>
              </a:ext>
            </a:extLst>
          </p:cNvPr>
          <p:cNvCxnSpPr>
            <a:cxnSpLocks/>
            <a:stCxn id="78" idx="2"/>
            <a:endCxn id="79" idx="0"/>
          </p:cNvCxnSpPr>
          <p:nvPr/>
        </p:nvCxnSpPr>
        <p:spPr>
          <a:xfrm>
            <a:off x="2436376" y="4142207"/>
            <a:ext cx="1" cy="349383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6ECC35DE-F7ED-DB13-5C64-31E315B6A25C}"/>
              </a:ext>
            </a:extLst>
          </p:cNvPr>
          <p:cNvCxnSpPr>
            <a:cxnSpLocks/>
            <a:stCxn id="78" idx="0"/>
            <a:endCxn id="75" idx="2"/>
          </p:cNvCxnSpPr>
          <p:nvPr/>
        </p:nvCxnSpPr>
        <p:spPr>
          <a:xfrm flipV="1">
            <a:off x="2436376" y="3047391"/>
            <a:ext cx="3674" cy="571439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5" name="Straight Arrow Connector 124">
            <a:extLst>
              <a:ext uri="{FF2B5EF4-FFF2-40B4-BE49-F238E27FC236}">
                <a16:creationId xmlns:a16="http://schemas.microsoft.com/office/drawing/2014/main" id="{310B3AE8-2654-D53B-F3F3-914FF6BF433F}"/>
              </a:ext>
            </a:extLst>
          </p:cNvPr>
          <p:cNvCxnSpPr>
            <a:cxnSpLocks/>
            <a:stCxn id="79" idx="3"/>
            <a:endCxn id="83" idx="1"/>
          </p:cNvCxnSpPr>
          <p:nvPr/>
        </p:nvCxnSpPr>
        <p:spPr>
          <a:xfrm>
            <a:off x="2975355" y="4785908"/>
            <a:ext cx="115569" cy="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A421D120-33AC-1D1F-B942-5B4E6AC4A53B}"/>
              </a:ext>
            </a:extLst>
          </p:cNvPr>
          <p:cNvCxnSpPr>
            <a:cxnSpLocks/>
            <a:stCxn id="83" idx="2"/>
            <a:endCxn id="88" idx="0"/>
          </p:cNvCxnSpPr>
          <p:nvPr/>
        </p:nvCxnSpPr>
        <p:spPr>
          <a:xfrm>
            <a:off x="3705300" y="5047597"/>
            <a:ext cx="1" cy="469157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4" name="Straight Arrow Connector 133">
            <a:extLst>
              <a:ext uri="{FF2B5EF4-FFF2-40B4-BE49-F238E27FC236}">
                <a16:creationId xmlns:a16="http://schemas.microsoft.com/office/drawing/2014/main" id="{E17C3D2F-AAAB-26D0-7939-371AC590293C}"/>
              </a:ext>
            </a:extLst>
          </p:cNvPr>
          <p:cNvCxnSpPr>
            <a:cxnSpLocks/>
            <a:stCxn id="70" idx="2"/>
            <a:endCxn id="76" idx="0"/>
          </p:cNvCxnSpPr>
          <p:nvPr/>
        </p:nvCxnSpPr>
        <p:spPr>
          <a:xfrm>
            <a:off x="3705301" y="3145290"/>
            <a:ext cx="0" cy="44091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8" name="Oval 137">
            <a:extLst>
              <a:ext uri="{FF2B5EF4-FFF2-40B4-BE49-F238E27FC236}">
                <a16:creationId xmlns:a16="http://schemas.microsoft.com/office/drawing/2014/main" id="{BFEFD0C2-3099-C780-84CA-48FBF65D93F8}"/>
              </a:ext>
            </a:extLst>
          </p:cNvPr>
          <p:cNvSpPr/>
          <p:nvPr/>
        </p:nvSpPr>
        <p:spPr>
          <a:xfrm>
            <a:off x="3594944" y="3231408"/>
            <a:ext cx="245087" cy="24508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Oval 138">
            <a:extLst>
              <a:ext uri="{FF2B5EF4-FFF2-40B4-BE49-F238E27FC236}">
                <a16:creationId xmlns:a16="http://schemas.microsoft.com/office/drawing/2014/main" id="{9CCDFC96-4E72-04C0-FE0D-07B6CB92A0DD}"/>
              </a:ext>
            </a:extLst>
          </p:cNvPr>
          <p:cNvSpPr/>
          <p:nvPr/>
        </p:nvSpPr>
        <p:spPr>
          <a:xfrm>
            <a:off x="2741491" y="2748670"/>
            <a:ext cx="245087" cy="245087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id="{BFE54405-B8D4-C826-C340-D198FFC32BFC}"/>
              </a:ext>
            </a:extLst>
          </p:cNvPr>
          <p:cNvSpPr/>
          <p:nvPr/>
        </p:nvSpPr>
        <p:spPr>
          <a:xfrm>
            <a:off x="2313832" y="3266835"/>
            <a:ext cx="245087" cy="245087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31FCCFF3-BEA3-A3FD-1E48-C63312ADD33C}"/>
              </a:ext>
            </a:extLst>
          </p:cNvPr>
          <p:cNvSpPr/>
          <p:nvPr/>
        </p:nvSpPr>
        <p:spPr>
          <a:xfrm>
            <a:off x="2308665" y="4162041"/>
            <a:ext cx="245087" cy="24508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3" name="Straight Arrow Connector 309">
            <a:extLst>
              <a:ext uri="{FF2B5EF4-FFF2-40B4-BE49-F238E27FC236}">
                <a16:creationId xmlns:a16="http://schemas.microsoft.com/office/drawing/2014/main" id="{7BFFAE84-381E-A987-A2B6-794E61BE686C}"/>
              </a:ext>
            </a:extLst>
          </p:cNvPr>
          <p:cNvCxnSpPr>
            <a:cxnSpLocks/>
            <a:stCxn id="83" idx="3"/>
            <a:endCxn id="86" idx="2"/>
          </p:cNvCxnSpPr>
          <p:nvPr/>
        </p:nvCxnSpPr>
        <p:spPr>
          <a:xfrm flipV="1">
            <a:off x="4319676" y="4595473"/>
            <a:ext cx="41355" cy="190436"/>
          </a:xfrm>
          <a:prstGeom prst="bentConnector2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8" name="Oval 147">
            <a:extLst>
              <a:ext uri="{FF2B5EF4-FFF2-40B4-BE49-F238E27FC236}">
                <a16:creationId xmlns:a16="http://schemas.microsoft.com/office/drawing/2014/main" id="{3F1463E5-0B9F-9020-1E2E-064701F3AF45}"/>
              </a:ext>
            </a:extLst>
          </p:cNvPr>
          <p:cNvSpPr/>
          <p:nvPr/>
        </p:nvSpPr>
        <p:spPr>
          <a:xfrm>
            <a:off x="4403028" y="4629878"/>
            <a:ext cx="245087" cy="245087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39C94791-F2E7-75B4-14E8-9FB1205457C4}"/>
              </a:ext>
            </a:extLst>
          </p:cNvPr>
          <p:cNvSpPr/>
          <p:nvPr/>
        </p:nvSpPr>
        <p:spPr>
          <a:xfrm>
            <a:off x="3570142" y="5108490"/>
            <a:ext cx="245087" cy="24508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2" name="Rectangle: Rounded Corners 151">
            <a:extLst>
              <a:ext uri="{FF2B5EF4-FFF2-40B4-BE49-F238E27FC236}">
                <a16:creationId xmlns:a16="http://schemas.microsoft.com/office/drawing/2014/main" id="{4FCCE502-4412-37F2-3C50-B4D70C721D79}"/>
              </a:ext>
            </a:extLst>
          </p:cNvPr>
          <p:cNvSpPr/>
          <p:nvPr/>
        </p:nvSpPr>
        <p:spPr>
          <a:xfrm>
            <a:off x="5540387" y="3044574"/>
            <a:ext cx="1329935" cy="588636"/>
          </a:xfrm>
          <a:prstGeom prst="roundRect">
            <a:avLst/>
          </a:prstGeom>
          <a:solidFill>
            <a:srgbClr val="EEEEEE"/>
          </a:solidFill>
          <a:ln>
            <a:solidFill>
              <a:srgbClr val="2552E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n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t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dels/facts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4" name="Rectangle: Rounded Corners 153">
            <a:extLst>
              <a:ext uri="{FF2B5EF4-FFF2-40B4-BE49-F238E27FC236}">
                <a16:creationId xmlns:a16="http://schemas.microsoft.com/office/drawing/2014/main" id="{41C08258-F0E0-079D-664C-11837A7CE67C}"/>
              </a:ext>
            </a:extLst>
          </p:cNvPr>
          <p:cNvSpPr/>
          <p:nvPr/>
        </p:nvSpPr>
        <p:spPr>
          <a:xfrm>
            <a:off x="8562811" y="5017478"/>
            <a:ext cx="1329935" cy="588636"/>
          </a:xfrm>
          <a:prstGeom prst="roundRect">
            <a:avLst/>
          </a:prstGeom>
          <a:solidFill>
            <a:srgbClr val="EEEEEE"/>
          </a:solidFill>
          <a:ln>
            <a:solidFill>
              <a:srgbClr val="2552E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n </a:t>
            </a:r>
            <a:r>
              <a:rPr lang="en-US" sz="11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t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dels/marts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881FB2CD-C827-1B43-ABCC-31DE5A3254DA}"/>
              </a:ext>
            </a:extLst>
          </p:cNvPr>
          <p:cNvCxnSpPr>
            <a:cxnSpLocks/>
            <a:stCxn id="152" idx="3"/>
            <a:endCxn id="205" idx="1"/>
          </p:cNvCxnSpPr>
          <p:nvPr/>
        </p:nvCxnSpPr>
        <p:spPr>
          <a:xfrm>
            <a:off x="6870322" y="3338892"/>
            <a:ext cx="1818478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62" name="Oval 161">
            <a:extLst>
              <a:ext uri="{FF2B5EF4-FFF2-40B4-BE49-F238E27FC236}">
                <a16:creationId xmlns:a16="http://schemas.microsoft.com/office/drawing/2014/main" id="{BD6DFEF3-8C08-C1E4-34F3-46287BDA1CEF}"/>
              </a:ext>
            </a:extLst>
          </p:cNvPr>
          <p:cNvSpPr/>
          <p:nvPr/>
        </p:nvSpPr>
        <p:spPr>
          <a:xfrm>
            <a:off x="8745413" y="5772570"/>
            <a:ext cx="964731" cy="420043"/>
          </a:xfrm>
          <a:prstGeom prst="ellipse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3" name="Straight Arrow Connector 162">
            <a:extLst>
              <a:ext uri="{FF2B5EF4-FFF2-40B4-BE49-F238E27FC236}">
                <a16:creationId xmlns:a16="http://schemas.microsoft.com/office/drawing/2014/main" id="{F3919F61-835C-5B67-B775-22F86A1AD6D4}"/>
              </a:ext>
            </a:extLst>
          </p:cNvPr>
          <p:cNvCxnSpPr>
            <a:cxnSpLocks/>
            <a:stCxn id="154" idx="2"/>
            <a:endCxn id="162" idx="0"/>
          </p:cNvCxnSpPr>
          <p:nvPr/>
        </p:nvCxnSpPr>
        <p:spPr>
          <a:xfrm>
            <a:off x="9227779" y="5606114"/>
            <a:ext cx="0" cy="166456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3" name="Rectangle: Rounded Corners 172">
            <a:extLst>
              <a:ext uri="{FF2B5EF4-FFF2-40B4-BE49-F238E27FC236}">
                <a16:creationId xmlns:a16="http://schemas.microsoft.com/office/drawing/2014/main" id="{7ED043D9-2880-B662-2FCC-ADFB2EA319CD}"/>
              </a:ext>
            </a:extLst>
          </p:cNvPr>
          <p:cNvSpPr/>
          <p:nvPr/>
        </p:nvSpPr>
        <p:spPr>
          <a:xfrm>
            <a:off x="5666376" y="5516754"/>
            <a:ext cx="1077957" cy="588636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ok for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s/facts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8" name="Diamond 177">
            <a:extLst>
              <a:ext uri="{FF2B5EF4-FFF2-40B4-BE49-F238E27FC236}">
                <a16:creationId xmlns:a16="http://schemas.microsoft.com/office/drawing/2014/main" id="{7F874746-E554-D722-6C2D-0AB96CC3FBDD}"/>
              </a:ext>
            </a:extLst>
          </p:cNvPr>
          <p:cNvSpPr/>
          <p:nvPr/>
        </p:nvSpPr>
        <p:spPr>
          <a:xfrm>
            <a:off x="5590978" y="4497481"/>
            <a:ext cx="1228752" cy="52337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und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1" name="Straight Arrow Connector 180">
            <a:extLst>
              <a:ext uri="{FF2B5EF4-FFF2-40B4-BE49-F238E27FC236}">
                <a16:creationId xmlns:a16="http://schemas.microsoft.com/office/drawing/2014/main" id="{3BC4E593-459D-7B9F-CA27-58420243688E}"/>
              </a:ext>
            </a:extLst>
          </p:cNvPr>
          <p:cNvCxnSpPr>
            <a:cxnSpLocks/>
            <a:stCxn id="88" idx="3"/>
            <a:endCxn id="173" idx="1"/>
          </p:cNvCxnSpPr>
          <p:nvPr/>
        </p:nvCxnSpPr>
        <p:spPr>
          <a:xfrm>
            <a:off x="4244279" y="5811072"/>
            <a:ext cx="1422097" cy="0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88" name="Straight Arrow Connector 187">
            <a:extLst>
              <a:ext uri="{FF2B5EF4-FFF2-40B4-BE49-F238E27FC236}">
                <a16:creationId xmlns:a16="http://schemas.microsoft.com/office/drawing/2014/main" id="{E0E41B6E-D503-0243-84B0-7CDB3EC73D4B}"/>
              </a:ext>
            </a:extLst>
          </p:cNvPr>
          <p:cNvCxnSpPr>
            <a:cxnSpLocks/>
            <a:stCxn id="173" idx="0"/>
            <a:endCxn id="178" idx="2"/>
          </p:cNvCxnSpPr>
          <p:nvPr/>
        </p:nvCxnSpPr>
        <p:spPr>
          <a:xfrm flipH="1" flipV="1">
            <a:off x="6205354" y="5020858"/>
            <a:ext cx="1" cy="495896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94" name="Straight Arrow Connector 193">
            <a:extLst>
              <a:ext uri="{FF2B5EF4-FFF2-40B4-BE49-F238E27FC236}">
                <a16:creationId xmlns:a16="http://schemas.microsoft.com/office/drawing/2014/main" id="{DB57E885-BB64-E7FB-627D-C20B0D0DBBA4}"/>
              </a:ext>
            </a:extLst>
          </p:cNvPr>
          <p:cNvCxnSpPr>
            <a:cxnSpLocks/>
            <a:stCxn id="178" idx="0"/>
            <a:endCxn id="152" idx="2"/>
          </p:cNvCxnSpPr>
          <p:nvPr/>
        </p:nvCxnSpPr>
        <p:spPr>
          <a:xfrm flipV="1">
            <a:off x="6205354" y="3633210"/>
            <a:ext cx="1" cy="864271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2E6259F1-3FFF-3E9B-0BF3-A0D44B14B95C}"/>
              </a:ext>
            </a:extLst>
          </p:cNvPr>
          <p:cNvGrpSpPr/>
          <p:nvPr/>
        </p:nvGrpSpPr>
        <p:grpSpPr>
          <a:xfrm>
            <a:off x="7178899" y="4595380"/>
            <a:ext cx="509191" cy="327579"/>
            <a:chOff x="1834931" y="5649539"/>
            <a:chExt cx="596172" cy="383537"/>
          </a:xfrm>
        </p:grpSpPr>
        <p:sp>
          <p:nvSpPr>
            <p:cNvPr id="199" name="Rectangle: Rounded Corners 198">
              <a:extLst>
                <a:ext uri="{FF2B5EF4-FFF2-40B4-BE49-F238E27FC236}">
                  <a16:creationId xmlns:a16="http://schemas.microsoft.com/office/drawing/2014/main" id="{34727DA1-E8AE-E666-65D4-8ECFEEB90A0E}"/>
                </a:ext>
              </a:extLst>
            </p:cNvPr>
            <p:cNvSpPr/>
            <p:nvPr/>
          </p:nvSpPr>
          <p:spPr>
            <a:xfrm>
              <a:off x="1834931" y="5649539"/>
              <a:ext cx="596172" cy="378371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00" name="Picture 199">
              <a:extLst>
                <a:ext uri="{FF2B5EF4-FFF2-40B4-BE49-F238E27FC236}">
                  <a16:creationId xmlns:a16="http://schemas.microsoft.com/office/drawing/2014/main" id="{061CB1A8-D7AF-5EB3-9B96-64ECF28ACC1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5265" y="5654705"/>
              <a:ext cx="504107" cy="378371"/>
            </a:xfrm>
            <a:prstGeom prst="rect">
              <a:avLst/>
            </a:prstGeom>
          </p:spPr>
        </p:pic>
      </p:grpSp>
      <p:sp>
        <p:nvSpPr>
          <p:cNvPr id="205" name="Rectangle: Rounded Corners 204">
            <a:extLst>
              <a:ext uri="{FF2B5EF4-FFF2-40B4-BE49-F238E27FC236}">
                <a16:creationId xmlns:a16="http://schemas.microsoft.com/office/drawing/2014/main" id="{41B11E66-A82D-D09A-0503-47437B1C07F7}"/>
              </a:ext>
            </a:extLst>
          </p:cNvPr>
          <p:cNvSpPr/>
          <p:nvPr/>
        </p:nvSpPr>
        <p:spPr>
          <a:xfrm>
            <a:off x="8688800" y="3044574"/>
            <a:ext cx="1077957" cy="588636"/>
          </a:xfrm>
          <a:prstGeom prst="roundRect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ok for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s/marts</a:t>
            </a:r>
            <a:endParaRPr lang="en-ID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9" name="Diamond 208">
            <a:extLst>
              <a:ext uri="{FF2B5EF4-FFF2-40B4-BE49-F238E27FC236}">
                <a16:creationId xmlns:a16="http://schemas.microsoft.com/office/drawing/2014/main" id="{392F08AB-86D9-A98D-1851-91A43C1C72C8}"/>
              </a:ext>
            </a:extLst>
          </p:cNvPr>
          <p:cNvSpPr/>
          <p:nvPr/>
        </p:nvSpPr>
        <p:spPr>
          <a:xfrm>
            <a:off x="8613402" y="3975659"/>
            <a:ext cx="1228752" cy="523377"/>
          </a:xfrm>
          <a:prstGeom prst="diamond">
            <a:avLst/>
          </a:prstGeom>
          <a:solidFill>
            <a:srgbClr val="EEEEE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und?</a:t>
            </a:r>
            <a:endParaRPr lang="en-ID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0" name="Straight Arrow Connector 209">
            <a:extLst>
              <a:ext uri="{FF2B5EF4-FFF2-40B4-BE49-F238E27FC236}">
                <a16:creationId xmlns:a16="http://schemas.microsoft.com/office/drawing/2014/main" id="{98A944A1-91F2-41EC-ABCA-C4A0831346ED}"/>
              </a:ext>
            </a:extLst>
          </p:cNvPr>
          <p:cNvCxnSpPr>
            <a:cxnSpLocks/>
            <a:stCxn id="205" idx="2"/>
            <a:endCxn id="209" idx="0"/>
          </p:cNvCxnSpPr>
          <p:nvPr/>
        </p:nvCxnSpPr>
        <p:spPr>
          <a:xfrm flipH="1">
            <a:off x="9227778" y="3633210"/>
            <a:ext cx="1" cy="342449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5" name="Straight Arrow Connector 214">
            <a:extLst>
              <a:ext uri="{FF2B5EF4-FFF2-40B4-BE49-F238E27FC236}">
                <a16:creationId xmlns:a16="http://schemas.microsoft.com/office/drawing/2014/main" id="{D496E1D7-19EA-5369-832E-B781EB5B33D5}"/>
              </a:ext>
            </a:extLst>
          </p:cNvPr>
          <p:cNvCxnSpPr>
            <a:cxnSpLocks/>
            <a:stCxn id="209" idx="2"/>
            <a:endCxn id="154" idx="0"/>
          </p:cNvCxnSpPr>
          <p:nvPr/>
        </p:nvCxnSpPr>
        <p:spPr>
          <a:xfrm>
            <a:off x="9227778" y="4499036"/>
            <a:ext cx="1" cy="518442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219" name="Group 218">
            <a:extLst>
              <a:ext uri="{FF2B5EF4-FFF2-40B4-BE49-F238E27FC236}">
                <a16:creationId xmlns:a16="http://schemas.microsoft.com/office/drawing/2014/main" id="{1E195392-1880-4799-F78A-5C1CC3A6FB98}"/>
              </a:ext>
            </a:extLst>
          </p:cNvPr>
          <p:cNvGrpSpPr/>
          <p:nvPr/>
        </p:nvGrpSpPr>
        <p:grpSpPr>
          <a:xfrm>
            <a:off x="10352459" y="4073558"/>
            <a:ext cx="509191" cy="327579"/>
            <a:chOff x="1834931" y="5649539"/>
            <a:chExt cx="596172" cy="383537"/>
          </a:xfrm>
        </p:grpSpPr>
        <p:sp>
          <p:nvSpPr>
            <p:cNvPr id="222" name="Rectangle: Rounded Corners 221">
              <a:extLst>
                <a:ext uri="{FF2B5EF4-FFF2-40B4-BE49-F238E27FC236}">
                  <a16:creationId xmlns:a16="http://schemas.microsoft.com/office/drawing/2014/main" id="{B6D748D6-62A3-1E9B-3750-5786D96A5BB7}"/>
                </a:ext>
              </a:extLst>
            </p:cNvPr>
            <p:cNvSpPr/>
            <p:nvPr/>
          </p:nvSpPr>
          <p:spPr>
            <a:xfrm>
              <a:off x="1834931" y="5649539"/>
              <a:ext cx="596172" cy="378371"/>
            </a:xfrm>
            <a:prstGeom prst="roundRect">
              <a:avLst/>
            </a:prstGeom>
            <a:solidFill>
              <a:srgbClr val="EEEEEE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23" name="Picture 222">
              <a:extLst>
                <a:ext uri="{FF2B5EF4-FFF2-40B4-BE49-F238E27FC236}">
                  <a16:creationId xmlns:a16="http://schemas.microsoft.com/office/drawing/2014/main" id="{76A7942F-B281-0ECB-050C-4B2A17B815A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5265" y="5654705"/>
              <a:ext cx="504107" cy="378371"/>
            </a:xfrm>
            <a:prstGeom prst="rect">
              <a:avLst/>
            </a:prstGeom>
          </p:spPr>
        </p:pic>
      </p:grpSp>
      <p:cxnSp>
        <p:nvCxnSpPr>
          <p:cNvPr id="237" name="Straight Arrow Connector 236">
            <a:extLst>
              <a:ext uri="{FF2B5EF4-FFF2-40B4-BE49-F238E27FC236}">
                <a16:creationId xmlns:a16="http://schemas.microsoft.com/office/drawing/2014/main" id="{D991BFC3-5D15-C61C-03C2-89A11A63CE8F}"/>
              </a:ext>
            </a:extLst>
          </p:cNvPr>
          <p:cNvCxnSpPr>
            <a:cxnSpLocks/>
            <a:stCxn id="209" idx="3"/>
            <a:endCxn id="222" idx="1"/>
          </p:cNvCxnSpPr>
          <p:nvPr/>
        </p:nvCxnSpPr>
        <p:spPr>
          <a:xfrm flipV="1">
            <a:off x="9842154" y="4235142"/>
            <a:ext cx="510305" cy="2206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40" name="Straight Arrow Connector 239">
            <a:extLst>
              <a:ext uri="{FF2B5EF4-FFF2-40B4-BE49-F238E27FC236}">
                <a16:creationId xmlns:a16="http://schemas.microsoft.com/office/drawing/2014/main" id="{FBF705E8-7092-BA71-D354-65A5DC36DF86}"/>
              </a:ext>
            </a:extLst>
          </p:cNvPr>
          <p:cNvCxnSpPr>
            <a:cxnSpLocks/>
            <a:stCxn id="178" idx="3"/>
            <a:endCxn id="200" idx="1"/>
          </p:cNvCxnSpPr>
          <p:nvPr/>
        </p:nvCxnSpPr>
        <p:spPr>
          <a:xfrm>
            <a:off x="6819730" y="4759170"/>
            <a:ext cx="402159" cy="2206"/>
          </a:xfrm>
          <a:prstGeom prst="straightConnector1">
            <a:avLst/>
          </a:prstGeom>
          <a:ln w="6350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45" name="Oval 244">
            <a:extLst>
              <a:ext uri="{FF2B5EF4-FFF2-40B4-BE49-F238E27FC236}">
                <a16:creationId xmlns:a16="http://schemas.microsoft.com/office/drawing/2014/main" id="{9F1B6A7C-82ED-CD61-9574-B6FE8776BA75}"/>
              </a:ext>
            </a:extLst>
          </p:cNvPr>
          <p:cNvSpPr/>
          <p:nvPr/>
        </p:nvSpPr>
        <p:spPr>
          <a:xfrm>
            <a:off x="6078199" y="4065345"/>
            <a:ext cx="245087" cy="24508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6" name="Oval 245">
            <a:extLst>
              <a:ext uri="{FF2B5EF4-FFF2-40B4-BE49-F238E27FC236}">
                <a16:creationId xmlns:a16="http://schemas.microsoft.com/office/drawing/2014/main" id="{71741FFA-EC4E-DE62-84AA-C2C1E65C45F5}"/>
              </a:ext>
            </a:extLst>
          </p:cNvPr>
          <p:cNvSpPr/>
          <p:nvPr/>
        </p:nvSpPr>
        <p:spPr>
          <a:xfrm>
            <a:off x="6860884" y="4633199"/>
            <a:ext cx="245087" cy="245087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7" name="Oval 246">
            <a:extLst>
              <a:ext uri="{FF2B5EF4-FFF2-40B4-BE49-F238E27FC236}">
                <a16:creationId xmlns:a16="http://schemas.microsoft.com/office/drawing/2014/main" id="{5AC7192A-F39A-811C-13A3-DE7F77B7D90C}"/>
              </a:ext>
            </a:extLst>
          </p:cNvPr>
          <p:cNvSpPr/>
          <p:nvPr/>
        </p:nvSpPr>
        <p:spPr>
          <a:xfrm>
            <a:off x="9974763" y="4112598"/>
            <a:ext cx="245087" cy="245087"/>
          </a:xfrm>
          <a:prstGeom prst="ellipse">
            <a:avLst/>
          </a:prstGeom>
          <a:solidFill>
            <a:srgbClr val="071F4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en-ID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8" name="Oval 247">
            <a:extLst>
              <a:ext uri="{FF2B5EF4-FFF2-40B4-BE49-F238E27FC236}">
                <a16:creationId xmlns:a16="http://schemas.microsoft.com/office/drawing/2014/main" id="{6D11CCB5-34E0-7E6B-5C4E-C115AF839129}"/>
              </a:ext>
            </a:extLst>
          </p:cNvPr>
          <p:cNvSpPr/>
          <p:nvPr/>
        </p:nvSpPr>
        <p:spPr>
          <a:xfrm>
            <a:off x="9104914" y="4596398"/>
            <a:ext cx="245087" cy="24508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en-ID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16E1BF6-4016-0051-FF76-27AB8EAD87B6}"/>
              </a:ext>
            </a:extLst>
          </p:cNvPr>
          <p:cNvGrpSpPr/>
          <p:nvPr/>
        </p:nvGrpSpPr>
        <p:grpSpPr>
          <a:xfrm>
            <a:off x="10283354" y="6470881"/>
            <a:ext cx="1736750" cy="139126"/>
            <a:chOff x="9901276" y="6498754"/>
            <a:chExt cx="1736750" cy="139126"/>
          </a:xfrm>
        </p:grpSpPr>
        <p:sp>
          <p:nvSpPr>
            <p:cNvPr id="15" name="SlideLogoText">
              <a:extLst>
                <a:ext uri="{FF2B5EF4-FFF2-40B4-BE49-F238E27FC236}">
                  <a16:creationId xmlns:a16="http://schemas.microsoft.com/office/drawing/2014/main" id="{CCFD6238-FCC4-5FD3-81B5-6155BEBA24AD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 bwMode="black">
            <a:xfrm>
              <a:off x="9901276" y="6499381"/>
              <a:ext cx="1617430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prstClr val="white">
                      <a:lumMod val="6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Final Project– Data Engineering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6" name="Slide Number">
              <a:extLst>
                <a:ext uri="{FF2B5EF4-FFF2-40B4-BE49-F238E27FC236}">
                  <a16:creationId xmlns:a16="http://schemas.microsoft.com/office/drawing/2014/main" id="{2B6AD2AB-02B9-1C81-5FF7-054719018E51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black">
            <a:xfrm>
              <a:off x="11312525" y="6498754"/>
              <a:ext cx="325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4ABDCABE-3F10-B64C-92F1-862014417034}" type="slidenum"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pPr marL="0" marR="0" lvl="0" indent="0" algn="r" defTabSz="6107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9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28942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heme/theme1.xml><?xml version="1.0" encoding="utf-8"?>
<a:theme xmlns:a="http://schemas.openxmlformats.org/drawingml/2006/main" name="ExxonMobil_Template_Arial">
  <a:themeElements>
    <a:clrScheme name="ExxonMobil2">
      <a:dk1>
        <a:srgbClr val="000000"/>
      </a:dk1>
      <a:lt1>
        <a:srgbClr val="FFFFFF"/>
      </a:lt1>
      <a:dk2>
        <a:srgbClr val="ED1C2E"/>
      </a:dk2>
      <a:lt2>
        <a:srgbClr val="5A5A5A"/>
      </a:lt2>
      <a:accent1>
        <a:srgbClr val="0C479D"/>
      </a:accent1>
      <a:accent2>
        <a:srgbClr val="00A3E0"/>
      </a:accent2>
      <a:accent3>
        <a:srgbClr val="00ACA8"/>
      </a:accent3>
      <a:accent4>
        <a:srgbClr val="B4D405"/>
      </a:accent4>
      <a:accent5>
        <a:srgbClr val="FFD700"/>
      </a:accent5>
      <a:accent6>
        <a:srgbClr val="ED8B00"/>
      </a:accent6>
      <a:hlink>
        <a:srgbClr val="0C479D"/>
      </a:hlink>
      <a:folHlink>
        <a:srgbClr val="00A3E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cap="flat" cmpd="sng">
          <a:solidFill>
            <a:schemeClr val="accent1"/>
          </a:solidFill>
          <a:prstDash val="solid"/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wrap="none" lIns="0" tIns="0" rIns="0" bIns="0" anchor="ctr"/>
      <a:lstStyle>
        <a:defPPr>
          <a:defRPr dirty="0"/>
        </a:defPPr>
      </a:lst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fontAlgn="auto">
          <a:spcAft>
            <a:spcPts val="0"/>
          </a:spcAft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ExxonMobil_Template_Arial">
  <a:themeElements>
    <a:clrScheme name="ExxonMobil2">
      <a:dk1>
        <a:srgbClr val="000000"/>
      </a:dk1>
      <a:lt1>
        <a:srgbClr val="FFFFFF"/>
      </a:lt1>
      <a:dk2>
        <a:srgbClr val="ED1C2E"/>
      </a:dk2>
      <a:lt2>
        <a:srgbClr val="5A5A5A"/>
      </a:lt2>
      <a:accent1>
        <a:srgbClr val="0C479D"/>
      </a:accent1>
      <a:accent2>
        <a:srgbClr val="00A3E0"/>
      </a:accent2>
      <a:accent3>
        <a:srgbClr val="00ACA8"/>
      </a:accent3>
      <a:accent4>
        <a:srgbClr val="B4D405"/>
      </a:accent4>
      <a:accent5>
        <a:srgbClr val="FFD700"/>
      </a:accent5>
      <a:accent6>
        <a:srgbClr val="ED8B00"/>
      </a:accent6>
      <a:hlink>
        <a:srgbClr val="0C479D"/>
      </a:hlink>
      <a:folHlink>
        <a:srgbClr val="00A3E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>
            <a:lumMod val="85000"/>
          </a:srgbClr>
        </a:solidFill>
        <a:ln w="9525">
          <a:solidFill>
            <a:srgbClr val="FFFFFF"/>
          </a:solidFill>
          <a:round/>
          <a:headEnd/>
          <a:tailEnd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eaLnBrk="1" fontAlgn="auto" latinLnBrk="0" hangingPunct="1">
          <a:lnSpc>
            <a:spcPct val="86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000" b="0" i="0" u="none" strike="noStrike" kern="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ea typeface="+mn-ea"/>
            <a:cs typeface="+mn-cs"/>
          </a:defRPr>
        </a:defPPr>
      </a:lst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fontAlgn="auto">
          <a:spcAft>
            <a:spcPts val="0"/>
          </a:spcAft>
          <a:defRPr dirty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ExxonMobil_Template_Arial">
  <a:themeElements>
    <a:clrScheme name="ExxonMobil">
      <a:dk1>
        <a:srgbClr val="000000"/>
      </a:dk1>
      <a:lt1>
        <a:srgbClr val="FFFFFF"/>
      </a:lt1>
      <a:dk2>
        <a:srgbClr val="ED1C2E"/>
      </a:dk2>
      <a:lt2>
        <a:srgbClr val="5A5A5A"/>
      </a:lt2>
      <a:accent1>
        <a:srgbClr val="0C479D"/>
      </a:accent1>
      <a:accent2>
        <a:srgbClr val="00A3E0"/>
      </a:accent2>
      <a:accent3>
        <a:srgbClr val="13943C"/>
      </a:accent3>
      <a:accent4>
        <a:srgbClr val="B4D405"/>
      </a:accent4>
      <a:accent5>
        <a:srgbClr val="FFD700"/>
      </a:accent5>
      <a:accent6>
        <a:srgbClr val="ED8B00"/>
      </a:accent6>
      <a:hlink>
        <a:srgbClr val="0C479D"/>
      </a:hlink>
      <a:folHlink>
        <a:srgbClr val="00A3E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72A1E704-C616-4B1E-B634-FD10FE5ADA7A}" vid="{7731993D-881C-4361-AD76-5749F16CDF4C}"/>
    </a:ext>
  </a:extLst>
</a:theme>
</file>

<file path=ppt/theme/theme4.xml><?xml version="1.0" encoding="utf-8"?>
<a:theme xmlns:a="http://schemas.openxmlformats.org/drawingml/2006/main" name="5_ExxonMobil_Template_Arial">
  <a:themeElements>
    <a:clrScheme name="ExxonMobil2">
      <a:dk1>
        <a:srgbClr val="000000"/>
      </a:dk1>
      <a:lt1>
        <a:srgbClr val="FFFFFF"/>
      </a:lt1>
      <a:dk2>
        <a:srgbClr val="ED1C2E"/>
      </a:dk2>
      <a:lt2>
        <a:srgbClr val="5A5A5A"/>
      </a:lt2>
      <a:accent1>
        <a:srgbClr val="0C479D"/>
      </a:accent1>
      <a:accent2>
        <a:srgbClr val="00A3E0"/>
      </a:accent2>
      <a:accent3>
        <a:srgbClr val="00ACA8"/>
      </a:accent3>
      <a:accent4>
        <a:srgbClr val="B4D405"/>
      </a:accent4>
      <a:accent5>
        <a:srgbClr val="FFD700"/>
      </a:accent5>
      <a:accent6>
        <a:srgbClr val="ED8B00"/>
      </a:accent6>
      <a:hlink>
        <a:srgbClr val="0C479D"/>
      </a:hlink>
      <a:folHlink>
        <a:srgbClr val="00A3E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>
            <a:lumMod val="85000"/>
          </a:srgbClr>
        </a:solidFill>
        <a:ln w="9525">
          <a:solidFill>
            <a:srgbClr val="FFFFFF"/>
          </a:solidFill>
          <a:round/>
          <a:headEnd/>
          <a:tailEnd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eaLnBrk="1" fontAlgn="auto" latinLnBrk="0" hangingPunct="1">
          <a:lnSpc>
            <a:spcPct val="86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000" b="0" i="0" u="none" strike="noStrike" kern="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ea typeface="+mn-ea"/>
            <a:cs typeface="+mn-cs"/>
          </a:defRPr>
        </a:defPPr>
      </a:lst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fontAlgn="auto">
          <a:spcAft>
            <a:spcPts val="0"/>
          </a:spcAft>
          <a:defRPr dirty="0"/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6fb2f7f-8c69-46f9-9811-aae61f596fc0">
      <Terms xmlns="http://schemas.microsoft.com/office/infopath/2007/PartnerControls"/>
    </lcf76f155ced4ddcb4097134ff3c332f>
    <TaxCatchAll xmlns="d47db331-0fc1-4bf8-832a-6fb5ac6185a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A02AD334624F044A2FC8A930BDEFF60" ma:contentTypeVersion="14" ma:contentTypeDescription="Create a new document." ma:contentTypeScope="" ma:versionID="d770ff4010ff022ab9fc5f60916a6e8d">
  <xsd:schema xmlns:xsd="http://www.w3.org/2001/XMLSchema" xmlns:xs="http://www.w3.org/2001/XMLSchema" xmlns:p="http://schemas.microsoft.com/office/2006/metadata/properties" xmlns:ns2="36fb2f7f-8c69-46f9-9811-aae61f596fc0" xmlns:ns3="d47db331-0fc1-4bf8-832a-6fb5ac6185a1" targetNamespace="http://schemas.microsoft.com/office/2006/metadata/properties" ma:root="true" ma:fieldsID="1c1744b6d56d250ea6bb32a00dfd50d2" ns2:_="" ns3:_="">
    <xsd:import namespace="36fb2f7f-8c69-46f9-9811-aae61f596fc0"/>
    <xsd:import namespace="d47db331-0fc1-4bf8-832a-6fb5ac6185a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fb2f7f-8c69-46f9-9811-aae61f596fc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0e668b16-eeb5-47ab-91e4-71690773395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7db331-0fc1-4bf8-832a-6fb5ac6185a1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2112cf1-752b-4098-b5a1-a4756e91a13e}" ma:internalName="TaxCatchAll" ma:showField="CatchAllData" ma:web="d47db331-0fc1-4bf8-832a-6fb5ac6185a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54412E6-FB96-46DD-9271-F85974716C8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7E88BEB-8723-4E55-BF7A-AF908A3839B8}">
  <ds:schemaRefs>
    <ds:schemaRef ds:uri="http://purl.org/dc/dcmitype/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d47db331-0fc1-4bf8-832a-6fb5ac6185a1"/>
    <ds:schemaRef ds:uri="36fb2f7f-8c69-46f9-9811-aae61f596fc0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523A567-CC7B-4865-B575-F8681C98F4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fb2f7f-8c69-46f9-9811-aae61f596fc0"/>
    <ds:schemaRef ds:uri="d47db331-0fc1-4bf8-832a-6fb5ac6185a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371</TotalTime>
  <Words>2129</Words>
  <Application>Microsoft Office PowerPoint</Application>
  <PresentationFormat>Widescreen</PresentationFormat>
  <Paragraphs>440</Paragraphs>
  <Slides>18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3" baseType="lpstr">
      <vt:lpstr>Aptos</vt:lpstr>
      <vt:lpstr>Aptos Display</vt:lpstr>
      <vt:lpstr>Arial</vt:lpstr>
      <vt:lpstr>Calibri</vt:lpstr>
      <vt:lpstr>EMprint</vt:lpstr>
      <vt:lpstr>EMprint Light</vt:lpstr>
      <vt:lpstr>Georgia</vt:lpstr>
      <vt:lpstr>Roboto</vt:lpstr>
      <vt:lpstr>Wingdings</vt:lpstr>
      <vt:lpstr>ExxonMobil_Template_Arial</vt:lpstr>
      <vt:lpstr>1_ExxonMobil_Template_Arial</vt:lpstr>
      <vt:lpstr>2_ExxonMobil_Template_Arial</vt:lpstr>
      <vt:lpstr>5_ExxonMobil_Template_Arial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 - EM Quarter Performance Review 3Q 2023</dc:title>
  <dc:creator>Rizky Aditya</dc:creator>
  <cp:lastModifiedBy>Rizky Fajar</cp:lastModifiedBy>
  <cp:revision>369</cp:revision>
  <dcterms:created xsi:type="dcterms:W3CDTF">2022-09-09T02:38:46Z</dcterms:created>
  <dcterms:modified xsi:type="dcterms:W3CDTF">2025-02-19T13:39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7A02AD334624F044A2FC8A930BDEFF60</vt:lpwstr>
  </property>
  <property fmtid="{D5CDD505-2E9C-101B-9397-08002B2CF9AE}" pid="4" name="MediaServiceImageTags">
    <vt:lpwstr/>
  </property>
</Properties>
</file>